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12"/>
  </p:notesMasterIdLst>
  <p:sldIdLst>
    <p:sldId id="258" r:id="rId2"/>
    <p:sldId id="262" r:id="rId3"/>
    <p:sldId id="263" r:id="rId4"/>
    <p:sldId id="264" r:id="rId5"/>
    <p:sldId id="265" r:id="rId6"/>
    <p:sldId id="266" r:id="rId7"/>
    <p:sldId id="268" r:id="rId8"/>
    <p:sldId id="269" r:id="rId9"/>
    <p:sldId id="270" r:id="rId10"/>
    <p:sldId id="26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9595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733AD1-BED1-4C71-B004-3296BFE0AA74}" v="148" dt="2024-12-04T22:50:47.3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>
        <p:scale>
          <a:sx n="142" d="100"/>
          <a:sy n="142" d="100"/>
        </p:scale>
        <p:origin x="-936" y="-21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B1733AD1-BED1-4C71-B004-3296BFE0AA74}"/>
    <pc:docChg chg="undo custSel addSld delSld modSld">
      <pc:chgData name="Jan K" userId="d066db4a5de46abf" providerId="LiveId" clId="{B1733AD1-BED1-4C71-B004-3296BFE0AA74}" dt="2024-12-04T22:52:27.700" v="787" actId="20577"/>
      <pc:docMkLst>
        <pc:docMk/>
      </pc:docMkLst>
      <pc:sldChg chg="del">
        <pc:chgData name="Jan K" userId="d066db4a5de46abf" providerId="LiveId" clId="{B1733AD1-BED1-4C71-B004-3296BFE0AA74}" dt="2024-12-04T22:46:31.007" v="775" actId="47"/>
        <pc:sldMkLst>
          <pc:docMk/>
          <pc:sldMk cId="3849049774" sldId="259"/>
        </pc:sldMkLst>
      </pc:sldChg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21T17:36:49.527" v="612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21T17:36:49.527" v="612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  <pc:sldChg chg="addSp delSp modSp add mod">
        <pc:chgData name="Jan K" userId="d066db4a5de46abf" providerId="LiveId" clId="{B1733AD1-BED1-4C71-B004-3296BFE0AA74}" dt="2024-11-21T21:47:50.198" v="762" actId="14100"/>
        <pc:sldMkLst>
          <pc:docMk/>
          <pc:sldMk cId="4276762234" sldId="268"/>
        </pc:sldMkLst>
        <pc:spChg chg="add mod">
          <ac:chgData name="Jan K" userId="d066db4a5de46abf" providerId="LiveId" clId="{B1733AD1-BED1-4C71-B004-3296BFE0AA74}" dt="2024-11-21T21:47:16.484" v="755" actId="207"/>
          <ac:spMkLst>
            <pc:docMk/>
            <pc:sldMk cId="4276762234" sldId="268"/>
            <ac:spMk id="2" creationId="{0A509B09-914E-F9B9-BD1D-6050E7AAE715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7" creationId="{FF6E775D-361C-0ECE-9ADA-6A90819F6D43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28" creationId="{067C82BF-E058-9AA7-15C5-6456117A40CD}"/>
          </ac:spMkLst>
        </pc:spChg>
        <pc:spChg chg="add mod">
          <ac:chgData name="Jan K" userId="d066db4a5de46abf" providerId="LiveId" clId="{B1733AD1-BED1-4C71-B004-3296BFE0AA74}" dt="2024-11-21T21:47:08.821" v="753" actId="164"/>
          <ac:spMkLst>
            <pc:docMk/>
            <pc:sldMk cId="4276762234" sldId="268"/>
            <ac:spMk id="30" creationId="{FEB5C9E8-5079-F62F-E9A9-81D6D03803B4}"/>
          </ac:spMkLst>
        </pc:spChg>
        <pc:spChg chg="add mod ord">
          <ac:chgData name="Jan K" userId="d066db4a5de46abf" providerId="LiveId" clId="{B1733AD1-BED1-4C71-B004-3296BFE0AA74}" dt="2024-11-21T17:24:00.197" v="462" actId="167"/>
          <ac:spMkLst>
            <pc:docMk/>
            <pc:sldMk cId="4276762234" sldId="268"/>
            <ac:spMk id="36" creationId="{36FFEB34-A7C1-74EA-4442-063B1C7C71FD}"/>
          </ac:spMkLst>
        </pc:spChg>
        <pc:spChg chg="del">
          <ac:chgData name="Jan K" userId="d066db4a5de46abf" providerId="LiveId" clId="{B1733AD1-BED1-4C71-B004-3296BFE0AA74}" dt="2024-11-21T17:24:34.911" v="469" actId="478"/>
          <ac:spMkLst>
            <pc:docMk/>
            <pc:sldMk cId="4276762234" sldId="268"/>
            <ac:spMk id="41" creationId="{F8F22498-35B9-E469-7EF2-31267410C0F8}"/>
          </ac:spMkLst>
        </pc:spChg>
        <pc:spChg chg="del">
          <ac:chgData name="Jan K" userId="d066db4a5de46abf" providerId="LiveId" clId="{B1733AD1-BED1-4C71-B004-3296BFE0AA74}" dt="2024-11-21T17:24:36.645" v="472" actId="478"/>
          <ac:spMkLst>
            <pc:docMk/>
            <pc:sldMk cId="4276762234" sldId="268"/>
            <ac:spMk id="42" creationId="{3743731C-DEF8-3095-D449-E61E4EA7C2AD}"/>
          </ac:spMkLst>
        </pc:spChg>
        <pc:spChg chg="del mod">
          <ac:chgData name="Jan K" userId="d066db4a5de46abf" providerId="LiveId" clId="{B1733AD1-BED1-4C71-B004-3296BFE0AA74}" dt="2024-11-21T17:25:13.520" v="480" actId="478"/>
          <ac:spMkLst>
            <pc:docMk/>
            <pc:sldMk cId="4276762234" sldId="268"/>
            <ac:spMk id="44" creationId="{8EA41033-1F64-3106-EC39-BFE9FFA10DCB}"/>
          </ac:spMkLst>
        </pc:spChg>
        <pc:spChg chg="mod">
          <ac:chgData name="Jan K" userId="d066db4a5de46abf" providerId="LiveId" clId="{B1733AD1-BED1-4C71-B004-3296BFE0AA74}" dt="2024-11-21T17:25:56.255" v="490" actId="1076"/>
          <ac:spMkLst>
            <pc:docMk/>
            <pc:sldMk cId="4276762234" sldId="268"/>
            <ac:spMk id="46" creationId="{F0046E54-6604-28E8-4C01-A8ECB7B91A37}"/>
          </ac:spMkLst>
        </pc:spChg>
        <pc:spChg chg="mod">
          <ac:chgData name="Jan K" userId="d066db4a5de46abf" providerId="LiveId" clId="{B1733AD1-BED1-4C71-B004-3296BFE0AA74}" dt="2024-11-21T17:24:32.711" v="468" actId="1076"/>
          <ac:spMkLst>
            <pc:docMk/>
            <pc:sldMk cId="4276762234" sldId="268"/>
            <ac:spMk id="59" creationId="{8935B64A-EB29-0B5E-B636-3966E14AB3DD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0" creationId="{0B033607-E4F8-4623-A586-14A334AB6455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1" creationId="{8E03FBB4-20EA-183A-32EA-00876EAB213C}"/>
          </ac:spMkLst>
        </pc:spChg>
        <pc:spChg chg="del mod">
          <ac:chgData name="Jan K" userId="d066db4a5de46abf" providerId="LiveId" clId="{B1733AD1-BED1-4C71-B004-3296BFE0AA74}" dt="2024-11-21T17:25:21.932" v="483" actId="478"/>
          <ac:spMkLst>
            <pc:docMk/>
            <pc:sldMk cId="4276762234" sldId="268"/>
            <ac:spMk id="62" creationId="{5C32CF5F-5087-00ED-DF4A-E3CF37E7DD87}"/>
          </ac:spMkLst>
        </pc:spChg>
        <pc:spChg chg="del mod">
          <ac:chgData name="Jan K" userId="d066db4a5de46abf" providerId="LiveId" clId="{B1733AD1-BED1-4C71-B004-3296BFE0AA74}" dt="2024-11-21T17:25:16.955" v="481" actId="478"/>
          <ac:spMkLst>
            <pc:docMk/>
            <pc:sldMk cId="4276762234" sldId="268"/>
            <ac:spMk id="63" creationId="{04CA9B54-C347-AE15-4868-BA42A69EB0B9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2" creationId="{171AB8E6-92C2-552A-E387-D5BD17F0B9FC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3" creationId="{3CBB4D9C-398F-351E-AA0F-1BB20E9C2FCA}"/>
          </ac:spMkLst>
        </pc:spChg>
        <pc:spChg chg="del mod">
          <ac:chgData name="Jan K" userId="d066db4a5de46abf" providerId="LiveId" clId="{B1733AD1-BED1-4C71-B004-3296BFE0AA74}" dt="2024-11-21T17:25:18.880" v="482" actId="478"/>
          <ac:spMkLst>
            <pc:docMk/>
            <pc:sldMk cId="4276762234" sldId="268"/>
            <ac:spMk id="2054" creationId="{A5CF7A36-AD40-E249-3B47-1B27462AC563}"/>
          </ac:spMkLst>
        </pc:spChg>
        <pc:spChg chg="del mod">
          <ac:chgData name="Jan K" userId="d066db4a5de46abf" providerId="LiveId" clId="{B1733AD1-BED1-4C71-B004-3296BFE0AA74}" dt="2024-11-21T17:25:25.789" v="484" actId="478"/>
          <ac:spMkLst>
            <pc:docMk/>
            <pc:sldMk cId="4276762234" sldId="268"/>
            <ac:spMk id="2055" creationId="{E324919D-7BD3-6ECA-B9B2-5947E1693958}"/>
          </ac:spMkLst>
        </pc:spChg>
        <pc:spChg chg="mod">
          <ac:chgData name="Jan K" userId="d066db4a5de46abf" providerId="LiveId" clId="{B1733AD1-BED1-4C71-B004-3296BFE0AA74}" dt="2024-11-21T17:26:48.980" v="507" actId="20577"/>
          <ac:spMkLst>
            <pc:docMk/>
            <pc:sldMk cId="4276762234" sldId="268"/>
            <ac:spMk id="2062" creationId="{63A7A325-8C23-9B97-07E3-CEE44FC79DB8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3" creationId="{3F983E2E-C36D-AB97-5C13-071B5E6A6FF7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4" creationId="{D9CE975E-1C50-54A2-19AD-8B7AA51BB000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6" creationId="{E9B7CAE6-F4FB-61B9-6F17-3E6D662B5F5E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79" creationId="{D7B7B20B-0AA9-AFE1-E6C5-74CACD1D2133}"/>
          </ac:spMkLst>
        </pc:spChg>
        <pc:spChg chg="mod">
          <ac:chgData name="Jan K" userId="d066db4a5de46abf" providerId="LiveId" clId="{B1733AD1-BED1-4C71-B004-3296BFE0AA74}" dt="2024-11-21T17:27:30.611" v="518" actId="1076"/>
          <ac:spMkLst>
            <pc:docMk/>
            <pc:sldMk cId="4276762234" sldId="268"/>
            <ac:spMk id="2085" creationId="{82EAA65D-97D2-DE29-A98F-C219B92AE450}"/>
          </ac:spMkLst>
        </pc:spChg>
        <pc:spChg chg="mod">
          <ac:chgData name="Jan K" userId="d066db4a5de46abf" providerId="LiveId" clId="{B1733AD1-BED1-4C71-B004-3296BFE0AA74}" dt="2024-11-21T17:41:00.253" v="660" actId="17032"/>
          <ac:spMkLst>
            <pc:docMk/>
            <pc:sldMk cId="4276762234" sldId="268"/>
            <ac:spMk id="2088" creationId="{D3CC2979-5285-305D-DA75-6201E6F31477}"/>
          </ac:spMkLst>
        </pc:spChg>
        <pc:spChg chg="del mod">
          <ac:chgData name="Jan K" userId="d066db4a5de46abf" providerId="LiveId" clId="{B1733AD1-BED1-4C71-B004-3296BFE0AA74}" dt="2024-11-21T17:27:50.128" v="524" actId="478"/>
          <ac:spMkLst>
            <pc:docMk/>
            <pc:sldMk cId="4276762234" sldId="268"/>
            <ac:spMk id="2089" creationId="{8780B954-C49D-6258-D71F-80B44984DDF7}"/>
          </ac:spMkLst>
        </pc:spChg>
        <pc:spChg chg="mod">
          <ac:chgData name="Jan K" userId="d066db4a5de46abf" providerId="LiveId" clId="{B1733AD1-BED1-4C71-B004-3296BFE0AA74}" dt="2024-11-21T17:27:07.833" v="508"/>
          <ac:spMkLst>
            <pc:docMk/>
            <pc:sldMk cId="4276762234" sldId="268"/>
            <ac:spMk id="2091" creationId="{A8CD763D-2EDF-95A9-31CE-019A8B6D7884}"/>
          </ac:spMkLst>
        </pc:spChg>
        <pc:spChg chg="del mod">
          <ac:chgData name="Jan K" userId="d066db4a5de46abf" providerId="LiveId" clId="{B1733AD1-BED1-4C71-B004-3296BFE0AA74}" dt="2024-11-21T17:27:47.735" v="523" actId="478"/>
          <ac:spMkLst>
            <pc:docMk/>
            <pc:sldMk cId="4276762234" sldId="268"/>
            <ac:spMk id="2093" creationId="{35EE7D63-FCD2-4B94-10A7-DCA5AADE5CEA}"/>
          </ac:spMkLst>
        </pc:spChg>
        <pc:spChg chg="mod topLvl">
          <ac:chgData name="Jan K" userId="d066db4a5de46abf" providerId="LiveId" clId="{B1733AD1-BED1-4C71-B004-3296BFE0AA74}" dt="2024-11-21T17:40:53.932" v="659" actId="17032"/>
          <ac:spMkLst>
            <pc:docMk/>
            <pc:sldMk cId="4276762234" sldId="268"/>
            <ac:spMk id="2100" creationId="{DBA82001-7886-1C9B-D706-F0682E6D85BB}"/>
          </ac:spMkLst>
        </pc:spChg>
        <pc:spChg chg="del mod topLvl">
          <ac:chgData name="Jan K" userId="d066db4a5de46abf" providerId="LiveId" clId="{B1733AD1-BED1-4C71-B004-3296BFE0AA74}" dt="2024-11-21T17:28:53.291" v="537" actId="478"/>
          <ac:spMkLst>
            <pc:docMk/>
            <pc:sldMk cId="4276762234" sldId="268"/>
            <ac:spMk id="2101" creationId="{9443BE69-65D8-28BC-E87B-304251A96A04}"/>
          </ac:spMkLst>
        </pc:spChg>
        <pc:spChg chg="mod">
          <ac:chgData name="Jan K" userId="d066db4a5de46abf" providerId="LiveId" clId="{B1733AD1-BED1-4C71-B004-3296BFE0AA74}" dt="2024-11-21T17:28:31.089" v="530" actId="165"/>
          <ac:spMkLst>
            <pc:docMk/>
            <pc:sldMk cId="4276762234" sldId="268"/>
            <ac:spMk id="2103" creationId="{415EE4EB-043C-CC1B-8B0D-4C2103196E07}"/>
          </ac:spMkLst>
        </pc:spChg>
        <pc:spChg chg="del mod">
          <ac:chgData name="Jan K" userId="d066db4a5de46abf" providerId="LiveId" clId="{B1733AD1-BED1-4C71-B004-3296BFE0AA74}" dt="2024-11-21T17:28:51.804" v="535" actId="478"/>
          <ac:spMkLst>
            <pc:docMk/>
            <pc:sldMk cId="4276762234" sldId="268"/>
            <ac:spMk id="2105" creationId="{E2C05BAF-E706-991B-7980-C0B63751D6CE}"/>
          </ac:spMkLst>
        </pc:spChg>
        <pc:spChg chg="mod">
          <ac:chgData name="Jan K" userId="d066db4a5de46abf" providerId="LiveId" clId="{B1733AD1-BED1-4C71-B004-3296BFE0AA74}" dt="2024-11-21T17:40:48.645" v="658" actId="17032"/>
          <ac:spMkLst>
            <pc:docMk/>
            <pc:sldMk cId="4276762234" sldId="268"/>
            <ac:spMk id="2110" creationId="{686DD3DF-9BD6-D227-B1A0-CA8FE14E36C7}"/>
          </ac:spMkLst>
        </pc:spChg>
        <pc:spChg chg="mod">
          <ac:chgData name="Jan K" userId="d066db4a5de46abf" providerId="LiveId" clId="{B1733AD1-BED1-4C71-B004-3296BFE0AA74}" dt="2024-11-21T17:29:02.997" v="539"/>
          <ac:spMkLst>
            <pc:docMk/>
            <pc:sldMk cId="4276762234" sldId="268"/>
            <ac:spMk id="2111" creationId="{9EACC892-8876-9776-1EF1-4EA78045C125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6" creationId="{AC2FA631-F3EB-76A5-C4FC-C4E244DA15DC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7" creationId="{EDDC5C46-3AF0-01C3-04AB-B14A4C499E0E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8" creationId="{E03CD78B-1F7B-F33C-128C-444B7988F764}"/>
          </ac:spMkLst>
        </pc:spChg>
        <pc:spChg chg="mod ord">
          <ac:chgData name="Jan K" userId="d066db4a5de46abf" providerId="LiveId" clId="{B1733AD1-BED1-4C71-B004-3296BFE0AA74}" dt="2024-11-21T17:33:38.465" v="597" actId="207"/>
          <ac:spMkLst>
            <pc:docMk/>
            <pc:sldMk cId="4276762234" sldId="268"/>
            <ac:spMk id="2133" creationId="{C9BEA365-A9E1-BACE-52CE-293104E4AE8D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4" creationId="{EEE8D064-D7CB-0486-6D6C-D8DCE717C255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5" creationId="{51F080D6-5D1E-EEB9-8617-700D5A87EA81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7" creationId="{631473B6-528C-92A1-D246-4F8B5D019E74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46" creationId="{7153A05A-755F-4A3A-4619-C7C966396B33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7" creationId="{D9BCF991-A381-FCED-D5CB-85A3DA07398A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8" creationId="{03E8DF05-DF8B-1438-FD18-24C04D87E586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5" creationId="{C0D37966-C29F-84D5-9986-D2678A5E2C50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6" creationId="{6B48D7F4-7E92-94EE-15B9-1D52FC56A50B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8" creationId="{127DD13F-A756-0FCD-3235-6524383490CE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9" creationId="{3F4B11C5-5FAC-1164-92EE-32BB01BCBD18}"/>
          </ac:spMkLst>
        </pc:spChg>
        <pc:spChg chg="mod">
          <ac:chgData name="Jan K" userId="d066db4a5de46abf" providerId="LiveId" clId="{B1733AD1-BED1-4C71-B004-3296BFE0AA74}" dt="2024-11-21T21:47:34.215" v="758" actId="207"/>
          <ac:spMkLst>
            <pc:docMk/>
            <pc:sldMk cId="4276762234" sldId="268"/>
            <ac:spMk id="2164" creationId="{EB682DF9-19D8-5321-5058-1DDB1DED37DC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5" creationId="{F0C44107-45C6-75D1-3A71-9B5C5598CBC3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6" creationId="{AF7FA134-117D-F5DA-0904-57EA0D6D1281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8" creationId="{FCB58EA0-3797-5B15-3C47-ACF5BE10B947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9" creationId="{11E086BB-66CD-7203-B0E1-E85B53930121}"/>
          </ac:spMkLst>
        </pc:spChg>
        <pc:spChg chg="mod">
          <ac:chgData name="Jan K" userId="d066db4a5de46abf" providerId="LiveId" clId="{B1733AD1-BED1-4C71-B004-3296BFE0AA74}" dt="2024-11-21T17:50:27.143" v="727" actId="207"/>
          <ac:spMkLst>
            <pc:docMk/>
            <pc:sldMk cId="4276762234" sldId="268"/>
            <ac:spMk id="2171" creationId="{995F9B3B-5302-06E7-420A-DF77F97574E0}"/>
          </ac:spMkLst>
        </pc:spChg>
        <pc:spChg chg="mod">
          <ac:chgData name="Jan K" userId="d066db4a5de46abf" providerId="LiveId" clId="{B1733AD1-BED1-4C71-B004-3296BFE0AA74}" dt="2024-11-21T17:37:38.627" v="613"/>
          <ac:spMkLst>
            <pc:docMk/>
            <pc:sldMk cId="4276762234" sldId="268"/>
            <ac:spMk id="2172" creationId="{3D556605-09A1-CF10-2A25-6AA5FA043294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4" creationId="{6F89A927-BBAE-CDD0-EEFB-84357BBFE89A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5" creationId="{91605D9A-9E04-9CE2-067E-A60ED04E4C17}"/>
          </ac:spMkLst>
        </pc:spChg>
        <pc:spChg chg="add mod">
          <ac:chgData name="Jan K" userId="d066db4a5de46abf" providerId="LiveId" clId="{B1733AD1-BED1-4C71-B004-3296BFE0AA74}" dt="2024-11-21T17:50:32.772" v="728" actId="207"/>
          <ac:spMkLst>
            <pc:docMk/>
            <pc:sldMk cId="4276762234" sldId="268"/>
            <ac:spMk id="2176" creationId="{690C1A75-2AFE-D10C-5E0D-FCC8A18AC308}"/>
          </ac:spMkLst>
        </pc:spChg>
        <pc:spChg chg="add mod">
          <ac:chgData name="Jan K" userId="d066db4a5de46abf" providerId="LiveId" clId="{B1733AD1-BED1-4C71-B004-3296BFE0AA74}" dt="2024-11-21T17:38:33.220" v="626" actId="164"/>
          <ac:spMkLst>
            <pc:docMk/>
            <pc:sldMk cId="4276762234" sldId="268"/>
            <ac:spMk id="2177" creationId="{D30F5476-6A8A-7F66-64E8-4F34994753A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199" creationId="{05A0219E-77F8-3864-7E60-F1D4BC61041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200" creationId="{DBBB03DD-C07E-9F64-EE1E-CBBE8ABA4935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2" creationId="{BEF66062-01F3-CC9F-39C6-70130E170141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3" creationId="{5269D095-5924-FB90-9EBD-0881A9567C35}"/>
          </ac:spMkLst>
        </pc:spChg>
        <pc:spChg chg="add del mod">
          <ac:chgData name="Jan K" userId="d066db4a5de46abf" providerId="LiveId" clId="{B1733AD1-BED1-4C71-B004-3296BFE0AA74}" dt="2024-11-21T17:42:20.854" v="671" actId="478"/>
          <ac:spMkLst>
            <pc:docMk/>
            <pc:sldMk cId="4276762234" sldId="268"/>
            <ac:spMk id="2204" creationId="{D7EA8177-2D11-E8A6-D884-631A91A7BF08}"/>
          </ac:spMkLst>
        </pc:spChg>
        <pc:spChg chg="add mod">
          <ac:chgData name="Jan K" userId="d066db4a5de46abf" providerId="LiveId" clId="{B1733AD1-BED1-4C71-B004-3296BFE0AA74}" dt="2024-11-21T17:42:37.331" v="680" actId="1076"/>
          <ac:spMkLst>
            <pc:docMk/>
            <pc:sldMk cId="4276762234" sldId="268"/>
            <ac:spMk id="2205" creationId="{23749D49-1688-2EB8-762F-11BD9E33DC27}"/>
          </ac:spMkLst>
        </pc:spChg>
        <pc:spChg chg="add del mod">
          <ac:chgData name="Jan K" userId="d066db4a5de46abf" providerId="LiveId" clId="{B1733AD1-BED1-4C71-B004-3296BFE0AA74}" dt="2024-11-21T17:43:03.516" v="683" actId="478"/>
          <ac:spMkLst>
            <pc:docMk/>
            <pc:sldMk cId="4276762234" sldId="268"/>
            <ac:spMk id="2206" creationId="{07A65DA2-06C0-A768-970B-BA2C59CFBC4A}"/>
          </ac:spMkLst>
        </pc:spChg>
        <pc:spChg chg="mod">
          <ac:chgData name="Jan K" userId="d066db4a5de46abf" providerId="LiveId" clId="{B1733AD1-BED1-4C71-B004-3296BFE0AA74}" dt="2024-11-21T17:44:17.291" v="693" actId="1076"/>
          <ac:spMkLst>
            <pc:docMk/>
            <pc:sldMk cId="4276762234" sldId="268"/>
            <ac:spMk id="2209" creationId="{3860DD4A-1FB7-4613-DDF9-53B06D38EDCB}"/>
          </ac:spMkLst>
        </pc:spChg>
        <pc:spChg chg="mod">
          <ac:chgData name="Jan K" userId="d066db4a5de46abf" providerId="LiveId" clId="{B1733AD1-BED1-4C71-B004-3296BFE0AA74}" dt="2024-11-21T17:44:25.288" v="694" actId="207"/>
          <ac:spMkLst>
            <pc:docMk/>
            <pc:sldMk cId="4276762234" sldId="268"/>
            <ac:spMk id="2210" creationId="{36292F30-7E65-D409-00A7-F225AE2862A7}"/>
          </ac:spMkLst>
        </pc:spChg>
        <pc:spChg chg="del mod">
          <ac:chgData name="Jan K" userId="d066db4a5de46abf" providerId="LiveId" clId="{B1733AD1-BED1-4C71-B004-3296BFE0AA74}" dt="2024-11-21T17:44:13.425" v="692" actId="478"/>
          <ac:spMkLst>
            <pc:docMk/>
            <pc:sldMk cId="4276762234" sldId="268"/>
            <ac:spMk id="2211" creationId="{E850CE8A-BA8D-7338-E816-9311321AE074}"/>
          </ac:spMkLst>
        </pc:spChg>
        <pc:spChg chg="mod">
          <ac:chgData name="Jan K" userId="d066db4a5de46abf" providerId="LiveId" clId="{B1733AD1-BED1-4C71-B004-3296BFE0AA74}" dt="2024-11-21T17:43:52.340" v="684"/>
          <ac:spMkLst>
            <pc:docMk/>
            <pc:sldMk cId="4276762234" sldId="268"/>
            <ac:spMk id="2213" creationId="{1ED2A21E-AA81-B3DE-FE54-4EE9F48B63BB}"/>
          </ac:spMkLst>
        </pc:spChg>
        <pc:spChg chg="del mod">
          <ac:chgData name="Jan K" userId="d066db4a5de46abf" providerId="LiveId" clId="{B1733AD1-BED1-4C71-B004-3296BFE0AA74}" dt="2024-11-21T17:44:10.860" v="691" actId="478"/>
          <ac:spMkLst>
            <pc:docMk/>
            <pc:sldMk cId="4276762234" sldId="268"/>
            <ac:spMk id="2214" creationId="{E9DB9F20-B10A-112D-A040-B0DA4569FC52}"/>
          </ac:spMkLst>
        </pc:spChg>
        <pc:spChg chg="mod">
          <ac:chgData name="Jan K" userId="d066db4a5de46abf" providerId="LiveId" clId="{B1733AD1-BED1-4C71-B004-3296BFE0AA74}" dt="2024-11-21T17:52:23.625" v="741" actId="20577"/>
          <ac:spMkLst>
            <pc:docMk/>
            <pc:sldMk cId="4276762234" sldId="268"/>
            <ac:spMk id="2236" creationId="{998C3477-CE09-9CDB-BABE-EE3D7CC20E36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7" creationId="{62538772-B10C-55F0-B224-6FD73A4B10BE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8" creationId="{C0AC5AB6-C642-E9DE-C99E-CE721A7440C1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0" creationId="{B17B01D7-EDAD-CCBA-0798-CB71440D843D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1" creationId="{402BC2F4-8CD0-7114-7989-1921C86398E9}"/>
          </ac:spMkLst>
        </pc:spChg>
        <pc:grpChg chg="mod">
          <ac:chgData name="Jan K" userId="d066db4a5de46abf" providerId="LiveId" clId="{B1733AD1-BED1-4C71-B004-3296BFE0AA74}" dt="2024-11-21T17:23:09.513" v="458" actId="164"/>
          <ac:grpSpMkLst>
            <pc:docMk/>
            <pc:sldMk cId="4276762234" sldId="268"/>
            <ac:grpSpMk id="18" creationId="{BB0D5AE2-59E0-3A82-5B29-C51F8BD76A95}"/>
          </ac:grpSpMkLst>
        </pc:grpChg>
        <pc:grpChg chg="del">
          <ac:chgData name="Jan K" userId="d066db4a5de46abf" providerId="LiveId" clId="{B1733AD1-BED1-4C71-B004-3296BFE0AA74}" dt="2024-11-21T17:24:43.073" v="474" actId="478"/>
          <ac:grpSpMkLst>
            <pc:docMk/>
            <pc:sldMk cId="4276762234" sldId="268"/>
            <ac:grpSpMk id="30" creationId="{3CF10AE3-1F7B-368B-E611-4C9BC81AC1F5}"/>
          </ac:grpSpMkLst>
        </pc:grpChg>
        <pc:grpChg chg="add mod">
          <ac:chgData name="Jan K" userId="d066db4a5de46abf" providerId="LiveId" clId="{B1733AD1-BED1-4C71-B004-3296BFE0AA74}" dt="2024-11-21T17:23:11.692" v="459" actId="1076"/>
          <ac:grpSpMkLst>
            <pc:docMk/>
            <pc:sldMk cId="4276762234" sldId="268"/>
            <ac:grpSpMk id="31" creationId="{7D9815B8-ADC3-39E7-2771-6BCFA2030DE1}"/>
          </ac:grpSpMkLst>
        </pc:grpChg>
        <pc:grpChg chg="add mod">
          <ac:chgData name="Jan K" userId="d066db4a5de46abf" providerId="LiveId" clId="{B1733AD1-BED1-4C71-B004-3296BFE0AA74}" dt="2024-11-21T21:47:24.747" v="756" actId="1076"/>
          <ac:grpSpMkLst>
            <pc:docMk/>
            <pc:sldMk cId="4276762234" sldId="268"/>
            <ac:grpSpMk id="32" creationId="{57B409E6-3309-EC2D-8F12-C04F0CD27253}"/>
          </ac:grpSpMkLst>
        </pc:grpChg>
        <pc:grpChg chg="add mod">
          <ac:chgData name="Jan K" userId="d066db4a5de46abf" providerId="LiveId" clId="{B1733AD1-BED1-4C71-B004-3296BFE0AA74}" dt="2024-11-21T17:25:51.545" v="489" actId="1076"/>
          <ac:grpSpMkLst>
            <pc:docMk/>
            <pc:sldMk cId="4276762234" sldId="268"/>
            <ac:grpSpMk id="40" creationId="{5E4978E3-336D-4024-0776-059023285CD8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45" creationId="{4604E433-A236-505E-0E0F-74AD0E2FDEE7}"/>
          </ac:grpSpMkLst>
        </pc:grpChg>
        <pc:grpChg chg="mod">
          <ac:chgData name="Jan K" userId="d066db4a5de46abf" providerId="LiveId" clId="{B1733AD1-BED1-4C71-B004-3296BFE0AA74}" dt="2024-11-21T17:24:32.711" v="468" actId="1076"/>
          <ac:grpSpMkLst>
            <pc:docMk/>
            <pc:sldMk cId="4276762234" sldId="268"/>
            <ac:grpSpMk id="48" creationId="{797D9C91-E8DE-E213-8F26-B94BA249A7EA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2049" creationId="{5C50A74C-B677-056E-B863-2C68458F3C6D}"/>
          </ac:grpSpMkLst>
        </pc:grpChg>
        <pc:grpChg chg="add mod">
          <ac:chgData name="Jan K" userId="d066db4a5de46abf" providerId="LiveId" clId="{B1733AD1-BED1-4C71-B004-3296BFE0AA74}" dt="2024-11-21T17:33:44.453" v="598" actId="1076"/>
          <ac:grpSpMkLst>
            <pc:docMk/>
            <pc:sldMk cId="4276762234" sldId="268"/>
            <ac:grpSpMk id="2058" creationId="{A1A191A2-36B7-4AC5-74A7-24FADE34F624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0" creationId="{C6D0DD7C-8E67-35F7-F13E-34F6F180BB53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5" creationId="{0D441A35-B729-C23E-7818-B52A4BBCDE8E}"/>
          </ac:grpSpMkLst>
        </pc:grpChg>
        <pc:grpChg chg="add mod">
          <ac:chgData name="Jan K" userId="d066db4a5de46abf" providerId="LiveId" clId="{B1733AD1-BED1-4C71-B004-3296BFE0AA74}" dt="2024-11-21T17:38:49.459" v="629" actId="1076"/>
          <ac:grpSpMkLst>
            <pc:docMk/>
            <pc:sldMk cId="4276762234" sldId="268"/>
            <ac:grpSpMk id="2080" creationId="{2049DC23-64E3-93DF-11B0-FAB5E09589D5}"/>
          </ac:grpSpMkLst>
        </pc:grpChg>
        <pc:grpChg chg="mod">
          <ac:chgData name="Jan K" userId="d066db4a5de46abf" providerId="LiveId" clId="{B1733AD1-BED1-4C71-B004-3296BFE0AA74}" dt="2024-11-21T17:27:07.833" v="508"/>
          <ac:grpSpMkLst>
            <pc:docMk/>
            <pc:sldMk cId="4276762234" sldId="268"/>
            <ac:grpSpMk id="2084" creationId="{609D72EB-3DB5-6938-3EF7-28E4ECAD56CC}"/>
          </ac:grpSpMkLst>
        </pc:grpChg>
        <pc:grpChg chg="del mod">
          <ac:chgData name="Jan K" userId="d066db4a5de46abf" providerId="LiveId" clId="{B1733AD1-BED1-4C71-B004-3296BFE0AA74}" dt="2024-11-21T17:27:47.735" v="523" actId="478"/>
          <ac:grpSpMkLst>
            <pc:docMk/>
            <pc:sldMk cId="4276762234" sldId="268"/>
            <ac:grpSpMk id="2090" creationId="{15C05615-1DE0-87A1-C010-451AC15AA88A}"/>
          </ac:grpSpMkLst>
        </pc:grpChg>
        <pc:grpChg chg="add del mod">
          <ac:chgData name="Jan K" userId="d066db4a5de46abf" providerId="LiveId" clId="{B1733AD1-BED1-4C71-B004-3296BFE0AA74}" dt="2024-11-21T17:28:31.089" v="530" actId="165"/>
          <ac:grpSpMkLst>
            <pc:docMk/>
            <pc:sldMk cId="4276762234" sldId="268"/>
            <ac:grpSpMk id="2099" creationId="{26A52320-5E74-5B90-29F3-1BF7E7D1D6A0}"/>
          </ac:grpSpMkLst>
        </pc:grpChg>
        <pc:grpChg chg="del mod topLvl">
          <ac:chgData name="Jan K" userId="d066db4a5de46abf" providerId="LiveId" clId="{B1733AD1-BED1-4C71-B004-3296BFE0AA74}" dt="2024-11-21T17:28:51.804" v="535" actId="478"/>
          <ac:grpSpMkLst>
            <pc:docMk/>
            <pc:sldMk cId="4276762234" sldId="268"/>
            <ac:grpSpMk id="2102" creationId="{93C421DC-5879-B59E-1957-E48DB7EA6FE0}"/>
          </ac:grpSpMkLst>
        </pc:grpChg>
        <pc:grpChg chg="add mod">
          <ac:chgData name="Jan K" userId="d066db4a5de46abf" providerId="LiveId" clId="{B1733AD1-BED1-4C71-B004-3296BFE0AA74}" dt="2024-11-21T17:39:14.235" v="636" actId="1076"/>
          <ac:grpSpMkLst>
            <pc:docMk/>
            <pc:sldMk cId="4276762234" sldId="268"/>
            <ac:grpSpMk id="2107" creationId="{9A0259D9-2345-3B49-486F-CC9CB146E5A3}"/>
          </ac:grpSpMkLst>
        </pc:grpChg>
        <pc:grpChg chg="add mod">
          <ac:chgData name="Jan K" userId="d066db4a5de46abf" providerId="LiveId" clId="{B1733AD1-BED1-4C71-B004-3296BFE0AA74}" dt="2024-11-21T17:38:58.509" v="633" actId="1076"/>
          <ac:grpSpMkLst>
            <pc:docMk/>
            <pc:sldMk cId="4276762234" sldId="268"/>
            <ac:grpSpMk id="2108" creationId="{32ECAEDF-20DF-8808-7AD6-18DB353C48D7}"/>
          </ac:grpSpMkLst>
        </pc:grpChg>
        <pc:grpChg chg="add mod">
          <ac:chgData name="Jan K" userId="d066db4a5de46abf" providerId="LiveId" clId="{B1733AD1-BED1-4C71-B004-3296BFE0AA74}" dt="2024-11-21T17:29:23.203" v="543" actId="688"/>
          <ac:grpSpMkLst>
            <pc:docMk/>
            <pc:sldMk cId="4276762234" sldId="268"/>
            <ac:grpSpMk id="2112" creationId="{67EFE831-A0CC-2D3C-5234-27BB78C9F001}"/>
          </ac:grpSpMkLst>
        </pc:grpChg>
        <pc:grpChg chg="mod">
          <ac:chgData name="Jan K" userId="d066db4a5de46abf" providerId="LiveId" clId="{B1733AD1-BED1-4C71-B004-3296BFE0AA74}" dt="2024-11-21T17:29:18.680" v="541"/>
          <ac:grpSpMkLst>
            <pc:docMk/>
            <pc:sldMk cId="4276762234" sldId="268"/>
            <ac:grpSpMk id="2125" creationId="{E55D0E19-619A-1157-E361-56EB2245FD31}"/>
          </ac:grpSpMkLst>
        </pc:grpChg>
        <pc:grpChg chg="add mod">
          <ac:chgData name="Jan K" userId="d066db4a5de46abf" providerId="LiveId" clId="{B1733AD1-BED1-4C71-B004-3296BFE0AA74}" dt="2024-11-21T17:31:40.082" v="569" actId="164"/>
          <ac:grpSpMkLst>
            <pc:docMk/>
            <pc:sldMk cId="4276762234" sldId="268"/>
            <ac:grpSpMk id="2129" creationId="{C3D2DE59-EFCF-14E6-939F-A4EAD08F06D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1" creationId="{4689E236-FBDC-DF4E-4549-77BDD7C8A6B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6" creationId="{DB805CDB-CBC7-A09D-5192-98D6D76653F5}"/>
          </ac:grpSpMkLst>
        </pc:grpChg>
        <pc:grpChg chg="del">
          <ac:chgData name="Jan K" userId="d066db4a5de46abf" providerId="LiveId" clId="{B1733AD1-BED1-4C71-B004-3296BFE0AA74}" dt="2024-11-21T17:24:44.188" v="475" actId="478"/>
          <ac:grpSpMkLst>
            <pc:docMk/>
            <pc:sldMk cId="4276762234" sldId="268"/>
            <ac:grpSpMk id="2138" creationId="{DC19F3CD-7131-CEE4-9241-3A5FA8BFABFD}"/>
          </ac:grpSpMkLst>
        </pc:grpChg>
        <pc:grpChg chg="add mod ord">
          <ac:chgData name="Jan K" userId="d066db4a5de46abf" providerId="LiveId" clId="{B1733AD1-BED1-4C71-B004-3296BFE0AA74}" dt="2024-11-21T17:33:28.919" v="596" actId="166"/>
          <ac:grpSpMkLst>
            <pc:docMk/>
            <pc:sldMk cId="4276762234" sldId="268"/>
            <ac:grpSpMk id="2149" creationId="{C16E52BF-DE6B-554B-2458-EB64129835B4}"/>
          </ac:grpSpMkLst>
        </pc:grpChg>
        <pc:grpChg chg="add mod">
          <ac:chgData name="Jan K" userId="d066db4a5de46abf" providerId="LiveId" clId="{B1733AD1-BED1-4C71-B004-3296BFE0AA74}" dt="2024-11-21T17:49:05.972" v="719" actId="1076"/>
          <ac:grpSpMkLst>
            <pc:docMk/>
            <pc:sldMk cId="4276762234" sldId="268"/>
            <ac:grpSpMk id="2154" creationId="{2FB57093-0FA4-FEF3-E145-C3F3DBD3A89D}"/>
          </ac:grpSpMkLst>
        </pc:grpChg>
        <pc:grpChg chg="add mod">
          <ac:chgData name="Jan K" userId="d066db4a5de46abf" providerId="LiveId" clId="{B1733AD1-BED1-4C71-B004-3296BFE0AA74}" dt="2024-11-21T17:32:46.719" v="582" actId="1076"/>
          <ac:grpSpMkLst>
            <pc:docMk/>
            <pc:sldMk cId="4276762234" sldId="268"/>
            <ac:grpSpMk id="2157" creationId="{B9D0B547-A4C5-9D00-DDAB-2D2923D72301}"/>
          </ac:grpSpMkLst>
        </pc:grpChg>
        <pc:grpChg chg="add mod">
          <ac:chgData name="Jan K" userId="d066db4a5de46abf" providerId="LiveId" clId="{B1733AD1-BED1-4C71-B004-3296BFE0AA74}" dt="2024-11-21T21:47:08.821" v="753" actId="164"/>
          <ac:grpSpMkLst>
            <pc:docMk/>
            <pc:sldMk cId="4276762234" sldId="268"/>
            <ac:grpSpMk id="2162" creationId="{38E2D0FC-C6D8-132F-29AE-F631812012B1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3" creationId="{B56BA1E4-CE27-E63F-459D-791D5DAAA296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7" creationId="{E8EBF5CC-8259-66FD-6FC2-7309F7A032B8}"/>
          </ac:grpSpMkLst>
        </pc:grpChg>
        <pc:grpChg chg="add mod">
          <ac:chgData name="Jan K" userId="d066db4a5de46abf" providerId="LiveId" clId="{B1733AD1-BED1-4C71-B004-3296BFE0AA74}" dt="2024-11-21T17:47:02.745" v="713" actId="1076"/>
          <ac:grpSpMkLst>
            <pc:docMk/>
            <pc:sldMk cId="4276762234" sldId="268"/>
            <ac:grpSpMk id="2170" creationId="{2BCDC050-4CA7-EA76-54F0-FCA202808C87}"/>
          </ac:grpSpMkLst>
        </pc:grpChg>
        <pc:grpChg chg="add del mod">
          <ac:chgData name="Jan K" userId="d066db4a5de46abf" providerId="LiveId" clId="{B1733AD1-BED1-4C71-B004-3296BFE0AA74}" dt="2024-11-21T17:38:19.915" v="619" actId="478"/>
          <ac:grpSpMkLst>
            <pc:docMk/>
            <pc:sldMk cId="4276762234" sldId="268"/>
            <ac:grpSpMk id="2173" creationId="{9D1E872D-8631-9874-9BC8-32563F31074F}"/>
          </ac:grpSpMkLst>
        </pc:grpChg>
        <pc:grpChg chg="add mod">
          <ac:chgData name="Jan K" userId="d066db4a5de46abf" providerId="LiveId" clId="{B1733AD1-BED1-4C71-B004-3296BFE0AA74}" dt="2024-11-21T17:47:04.716" v="714" actId="1076"/>
          <ac:grpSpMkLst>
            <pc:docMk/>
            <pc:sldMk cId="4276762234" sldId="268"/>
            <ac:grpSpMk id="2178" creationId="{A7EFE875-7F6D-E317-E703-4F25F1A0CF5B}"/>
          </ac:grpSpMkLst>
        </pc:grpChg>
        <pc:grpChg chg="add mod">
          <ac:chgData name="Jan K" userId="d066db4a5de46abf" providerId="LiveId" clId="{B1733AD1-BED1-4C71-B004-3296BFE0AA74}" dt="2024-11-21T17:42:01.044" v="665" actId="1076"/>
          <ac:grpSpMkLst>
            <pc:docMk/>
            <pc:sldMk cId="4276762234" sldId="268"/>
            <ac:grpSpMk id="2198" creationId="{5E82AC15-8123-5D4B-6CCC-AACA673DC3CB}"/>
          </ac:grpSpMkLst>
        </pc:grpChg>
        <pc:grpChg chg="add mod">
          <ac:chgData name="Jan K" userId="d066db4a5de46abf" providerId="LiveId" clId="{B1733AD1-BED1-4C71-B004-3296BFE0AA74}" dt="2024-11-21T17:42:04.386" v="667" actId="1076"/>
          <ac:grpSpMkLst>
            <pc:docMk/>
            <pc:sldMk cId="4276762234" sldId="268"/>
            <ac:grpSpMk id="2201" creationId="{DBCBE3D8-C645-90AC-5AAB-4DE3AB12A1FF}"/>
          </ac:grpSpMkLst>
        </pc:grpChg>
        <pc:grpChg chg="add mod">
          <ac:chgData name="Jan K" userId="d066db4a5de46abf" providerId="LiveId" clId="{B1733AD1-BED1-4C71-B004-3296BFE0AA74}" dt="2024-11-21T17:44:53.978" v="699" actId="1076"/>
          <ac:grpSpMkLst>
            <pc:docMk/>
            <pc:sldMk cId="4276762234" sldId="268"/>
            <ac:grpSpMk id="2207" creationId="{865922E1-69BA-E8A2-241C-31BB8D723CF3}"/>
          </ac:grpSpMkLst>
        </pc:grpChg>
        <pc:grpChg chg="mod">
          <ac:chgData name="Jan K" userId="d066db4a5de46abf" providerId="LiveId" clId="{B1733AD1-BED1-4C71-B004-3296BFE0AA74}" dt="2024-11-21T17:43:52.340" v="684"/>
          <ac:grpSpMkLst>
            <pc:docMk/>
            <pc:sldMk cId="4276762234" sldId="268"/>
            <ac:grpSpMk id="2208" creationId="{027F1F63-2371-C7C2-ACF9-33791E38F8B5}"/>
          </ac:grpSpMkLst>
        </pc:grpChg>
        <pc:grpChg chg="del mod">
          <ac:chgData name="Jan K" userId="d066db4a5de46abf" providerId="LiveId" clId="{B1733AD1-BED1-4C71-B004-3296BFE0AA74}" dt="2024-11-21T17:44:10.860" v="691" actId="478"/>
          <ac:grpSpMkLst>
            <pc:docMk/>
            <pc:sldMk cId="4276762234" sldId="268"/>
            <ac:grpSpMk id="2212" creationId="{620D1CE8-B1DC-3BE2-1DD0-6B1A3E52FBC3}"/>
          </ac:grpSpMkLst>
        </pc:grpChg>
        <pc:grpChg chg="add mod">
          <ac:chgData name="Jan K" userId="d066db4a5de46abf" providerId="LiveId" clId="{B1733AD1-BED1-4C71-B004-3296BFE0AA74}" dt="2024-11-21T17:52:19.353" v="735" actId="1076"/>
          <ac:grpSpMkLst>
            <pc:docMk/>
            <pc:sldMk cId="4276762234" sldId="268"/>
            <ac:grpSpMk id="2234" creationId="{03B7F013-BD35-D5A4-B20D-8FE24C30004C}"/>
          </ac:grpSpMkLst>
        </pc:grpChg>
        <pc:grpChg chg="mod">
          <ac:chgData name="Jan K" userId="d066db4a5de46abf" providerId="LiveId" clId="{B1733AD1-BED1-4C71-B004-3296BFE0AA74}" dt="2024-11-21T17:52:16.377" v="734"/>
          <ac:grpSpMkLst>
            <pc:docMk/>
            <pc:sldMk cId="4276762234" sldId="268"/>
            <ac:grpSpMk id="2235" creationId="{DDA20774-F3EC-EFC4-1B76-A17B6660CFDC}"/>
          </ac:grpSpMkLst>
        </pc:grpChg>
        <pc:picChg chg="mod">
          <ac:chgData name="Jan K" userId="d066db4a5de46abf" providerId="LiveId" clId="{B1733AD1-BED1-4C71-B004-3296BFE0AA74}" dt="2024-11-21T17:44:36.323" v="696" actId="1076"/>
          <ac:picMkLst>
            <pc:docMk/>
            <pc:sldMk cId="4276762234" sldId="268"/>
            <ac:picMk id="2050" creationId="{91EEF778-90D5-E970-8791-694965EC3327}"/>
          </ac:picMkLst>
        </pc:picChg>
        <pc:cxnChg chg="del">
          <ac:chgData name="Jan K" userId="d066db4a5de46abf" providerId="LiveId" clId="{B1733AD1-BED1-4C71-B004-3296BFE0AA74}" dt="2024-11-21T17:24:35.479" v="470" actId="478"/>
          <ac:cxnSpMkLst>
            <pc:docMk/>
            <pc:sldMk cId="4276762234" sldId="268"/>
            <ac:cxnSpMk id="2" creationId="{8A582AC3-4A9A-840B-25A7-C90CD1484680}"/>
          </ac:cxnSpMkLst>
        </pc:cxnChg>
        <pc:cxnChg chg="mod">
          <ac:chgData name="Jan K" userId="d066db4a5de46abf" providerId="LiveId" clId="{B1733AD1-BED1-4C71-B004-3296BFE0AA74}" dt="2024-11-21T17:30:04.730" v="547" actId="1076"/>
          <ac:cxnSpMkLst>
            <pc:docMk/>
            <pc:sldMk cId="4276762234" sldId="268"/>
            <ac:cxnSpMk id="3" creationId="{4CF47424-1CEE-A9E0-BB7C-5108034C1B34}"/>
          </ac:cxnSpMkLst>
        </pc:cxnChg>
        <pc:cxnChg chg="add mod">
          <ac:chgData name="Jan K" userId="d066db4a5de46abf" providerId="LiveId" clId="{B1733AD1-BED1-4C71-B004-3296BFE0AA74}" dt="2024-11-21T21:47:50.198" v="762" actId="14100"/>
          <ac:cxnSpMkLst>
            <pc:docMk/>
            <pc:sldMk cId="4276762234" sldId="268"/>
            <ac:cxnSpMk id="33" creationId="{1C50437B-961F-FB73-3B88-51E1612B34E9}"/>
          </ac:cxnSpMkLst>
        </pc:cxnChg>
        <pc:cxnChg chg="del">
          <ac:chgData name="Jan K" userId="d066db4a5de46abf" providerId="LiveId" clId="{B1733AD1-BED1-4C71-B004-3296BFE0AA74}" dt="2024-11-21T17:24:35.996" v="471" actId="478"/>
          <ac:cxnSpMkLst>
            <pc:docMk/>
            <pc:sldMk cId="4276762234" sldId="268"/>
            <ac:cxnSpMk id="43" creationId="{0DC414E3-9E23-4C41-838F-07A6777E97BA}"/>
          </ac:cxnSpMkLst>
        </pc:cxnChg>
        <pc:cxnChg chg="del">
          <ac:chgData name="Jan K" userId="d066db4a5de46abf" providerId="LiveId" clId="{B1733AD1-BED1-4C71-B004-3296BFE0AA74}" dt="2024-11-21T17:24:38.331" v="473" actId="478"/>
          <ac:cxnSpMkLst>
            <pc:docMk/>
            <pc:sldMk cId="4276762234" sldId="268"/>
            <ac:cxnSpMk id="47" creationId="{DBE2EDA4-40CD-EA2C-3B14-CCAC5B1DFBA2}"/>
          </ac:cxnSpMkLst>
        </pc:cxnChg>
        <pc:cxnChg chg="add mod">
          <ac:chgData name="Jan K" userId="d066db4a5de46abf" providerId="LiveId" clId="{B1733AD1-BED1-4C71-B004-3296BFE0AA74}" dt="2024-11-21T17:41:53.320" v="663" actId="14100"/>
          <ac:cxnSpMkLst>
            <pc:docMk/>
            <pc:sldMk cId="4276762234" sldId="268"/>
            <ac:cxnSpMk id="2057" creationId="{2FEC677A-07DD-504B-4684-7524B114E35E}"/>
          </ac:cxnSpMkLst>
        </pc:cxnChg>
        <pc:cxnChg chg="mod">
          <ac:chgData name="Jan K" userId="d066db4a5de46abf" providerId="LiveId" clId="{B1733AD1-BED1-4C71-B004-3296BFE0AA74}" dt="2024-11-21T17:24:32.711" v="468" actId="1076"/>
          <ac:cxnSpMkLst>
            <pc:docMk/>
            <pc:sldMk cId="4276762234" sldId="268"/>
            <ac:cxnSpMk id="2087" creationId="{3271340A-963A-9E24-B05E-88DC29097AED}"/>
          </ac:cxnSpMkLst>
        </pc:cxnChg>
        <pc:cxnChg chg="add del mod">
          <ac:chgData name="Jan K" userId="d066db4a5de46abf" providerId="LiveId" clId="{B1733AD1-BED1-4C71-B004-3296BFE0AA74}" dt="2024-11-21T17:40:15.198" v="654" actId="478"/>
          <ac:cxnSpMkLst>
            <pc:docMk/>
            <pc:sldMk cId="4276762234" sldId="268"/>
            <ac:cxnSpMk id="2095" creationId="{0745B8EA-44DE-894C-555B-83C34AF952B9}"/>
          </ac:cxnSpMkLst>
        </pc:cxnChg>
        <pc:cxnChg chg="del">
          <ac:chgData name="Jan K" userId="d066db4a5de46abf" providerId="LiveId" clId="{B1733AD1-BED1-4C71-B004-3296BFE0AA74}" dt="2024-11-21T17:24:12.935" v="465" actId="478"/>
          <ac:cxnSpMkLst>
            <pc:docMk/>
            <pc:sldMk cId="4276762234" sldId="268"/>
            <ac:cxnSpMk id="2096" creationId="{7AC7213F-F78C-BC99-90C5-070ED8CE3543}"/>
          </ac:cxnSpMkLst>
        </pc:cxnChg>
        <pc:cxnChg chg="del">
          <ac:chgData name="Jan K" userId="d066db4a5de46abf" providerId="LiveId" clId="{B1733AD1-BED1-4C71-B004-3296BFE0AA74}" dt="2024-11-21T17:24:11.759" v="464" actId="478"/>
          <ac:cxnSpMkLst>
            <pc:docMk/>
            <pc:sldMk cId="4276762234" sldId="268"/>
            <ac:cxnSpMk id="2098" creationId="{FCA3266F-B9EC-0AAB-3747-391B192356E2}"/>
          </ac:cxnSpMkLst>
        </pc:cxnChg>
        <pc:cxnChg chg="del">
          <ac:chgData name="Jan K" userId="d066db4a5de46abf" providerId="LiveId" clId="{B1733AD1-BED1-4C71-B004-3296BFE0AA74}" dt="2024-11-21T17:27:34.623" v="519" actId="478"/>
          <ac:cxnSpMkLst>
            <pc:docMk/>
            <pc:sldMk cId="4276762234" sldId="268"/>
            <ac:cxnSpMk id="2104" creationId="{6C8D13FA-9511-C71D-D647-33D04D233424}"/>
          </ac:cxnSpMkLst>
        </pc:cxnChg>
        <pc:cxnChg chg="del">
          <ac:chgData name="Jan K" userId="d066db4a5de46abf" providerId="LiveId" clId="{B1733AD1-BED1-4C71-B004-3296BFE0AA74}" dt="2024-11-21T17:24:55.976" v="476" actId="478"/>
          <ac:cxnSpMkLst>
            <pc:docMk/>
            <pc:sldMk cId="4276762234" sldId="268"/>
            <ac:cxnSpMk id="2106" creationId="{2247A859-C689-612C-63A2-582C27652AC0}"/>
          </ac:cxnSpMkLst>
        </pc:cxnChg>
        <pc:cxnChg chg="del">
          <ac:chgData name="Jan K" userId="d066db4a5de46abf" providerId="LiveId" clId="{B1733AD1-BED1-4C71-B004-3296BFE0AA74}" dt="2024-11-21T17:24:57.266" v="477" actId="478"/>
          <ac:cxnSpMkLst>
            <pc:docMk/>
            <pc:sldMk cId="4276762234" sldId="268"/>
            <ac:cxnSpMk id="2109" creationId="{5857C048-394B-E78D-408B-71F5F07373C1}"/>
          </ac:cxnSpMkLst>
        </pc:cxnChg>
        <pc:cxnChg chg="mod">
          <ac:chgData name="Jan K" userId="d066db4a5de46abf" providerId="LiveId" clId="{B1733AD1-BED1-4C71-B004-3296BFE0AA74}" dt="2024-11-21T17:41:50.927" v="662" actId="14100"/>
          <ac:cxnSpMkLst>
            <pc:docMk/>
            <pc:sldMk cId="4276762234" sldId="268"/>
            <ac:cxnSpMk id="2124" creationId="{0A4B524A-6305-B9D4-BDBE-B828E13AC6D2}"/>
          </ac:cxnSpMkLst>
        </pc:cxnChg>
        <pc:cxnChg chg="del">
          <ac:chgData name="Jan K" userId="d066db4a5de46abf" providerId="LiveId" clId="{B1733AD1-BED1-4C71-B004-3296BFE0AA74}" dt="2024-11-21T17:27:36.126" v="520" actId="478"/>
          <ac:cxnSpMkLst>
            <pc:docMk/>
            <pc:sldMk cId="4276762234" sldId="268"/>
            <ac:cxnSpMk id="2130" creationId="{9330894B-A3C4-02EF-8CF6-9134BB72FDFB}"/>
          </ac:cxnSpMkLst>
        </pc:cxnChg>
        <pc:cxnChg chg="mod">
          <ac:chgData name="Jan K" userId="d066db4a5de46abf" providerId="LiveId" clId="{B1733AD1-BED1-4C71-B004-3296BFE0AA74}" dt="2024-11-21T17:32:19.239" v="573" actId="1076"/>
          <ac:cxnSpMkLst>
            <pc:docMk/>
            <pc:sldMk cId="4276762234" sldId="268"/>
            <ac:cxnSpMk id="2132" creationId="{72793BA1-46C4-21C9-3B4E-388012FCF7C3}"/>
          </ac:cxnSpMkLst>
        </pc:cxnChg>
        <pc:cxnChg chg="add mod">
          <ac:chgData name="Jan K" userId="d066db4a5de46abf" providerId="LiveId" clId="{B1733AD1-BED1-4C71-B004-3296BFE0AA74}" dt="2024-11-21T17:49:05.972" v="719" actId="1076"/>
          <ac:cxnSpMkLst>
            <pc:docMk/>
            <pc:sldMk cId="4276762234" sldId="268"/>
            <ac:cxnSpMk id="2151" creationId="{C45F0E80-F0C6-1A35-8B01-2586CCD73276}"/>
          </ac:cxnSpMkLst>
        </pc:cxnChg>
        <pc:cxnChg chg="add mod">
          <ac:chgData name="Jan K" userId="d066db4a5de46abf" providerId="LiveId" clId="{B1733AD1-BED1-4C71-B004-3296BFE0AA74}" dt="2024-11-21T17:33:15.893" v="593" actId="208"/>
          <ac:cxnSpMkLst>
            <pc:docMk/>
            <pc:sldMk cId="4276762234" sldId="268"/>
            <ac:cxnSpMk id="2160" creationId="{998313B1-1202-B6A1-384C-A18A07AE4027}"/>
          </ac:cxnSpMkLst>
        </pc:cxnChg>
        <pc:cxnChg chg="add del mod">
          <ac:chgData name="Jan K" userId="d066db4a5de46abf" providerId="LiveId" clId="{B1733AD1-BED1-4C71-B004-3296BFE0AA74}" dt="2024-11-21T17:39:25.559" v="640" actId="478"/>
          <ac:cxnSpMkLst>
            <pc:docMk/>
            <pc:sldMk cId="4276762234" sldId="268"/>
            <ac:cxnSpMk id="2182" creationId="{DB89A6E3-14A1-6A00-A3E1-DDC1F42CC579}"/>
          </ac:cxnSpMkLst>
        </pc:cxnChg>
        <pc:cxnChg chg="add mod">
          <ac:chgData name="Jan K" userId="d066db4a5de46abf" providerId="LiveId" clId="{B1733AD1-BED1-4C71-B004-3296BFE0AA74}" dt="2024-11-21T17:50:14.617" v="721" actId="208"/>
          <ac:cxnSpMkLst>
            <pc:docMk/>
            <pc:sldMk cId="4276762234" sldId="268"/>
            <ac:cxnSpMk id="2185" creationId="{09433898-830B-4518-BC07-370E7EA47545}"/>
          </ac:cxnSpMkLst>
        </pc:cxnChg>
        <pc:cxnChg chg="add mod">
          <ac:chgData name="Jan K" userId="d066db4a5de46abf" providerId="LiveId" clId="{B1733AD1-BED1-4C71-B004-3296BFE0AA74}" dt="2024-11-21T17:50:18.459" v="722" actId="208"/>
          <ac:cxnSpMkLst>
            <pc:docMk/>
            <pc:sldMk cId="4276762234" sldId="268"/>
            <ac:cxnSpMk id="2188" creationId="{B3053AD8-D013-1F4C-D428-4AD0369B3E5C}"/>
          </ac:cxnSpMkLst>
        </pc:cxnChg>
        <pc:cxnChg chg="add mod">
          <ac:chgData name="Jan K" userId="d066db4a5de46abf" providerId="LiveId" clId="{B1733AD1-BED1-4C71-B004-3296BFE0AA74}" dt="2024-11-21T17:40:24.996" v="657" actId="1582"/>
          <ac:cxnSpMkLst>
            <pc:docMk/>
            <pc:sldMk cId="4276762234" sldId="268"/>
            <ac:cxnSpMk id="2191" creationId="{C5824DF0-BC2F-EDD8-7351-7C633831AECD}"/>
          </ac:cxnSpMkLst>
        </pc:cxnChg>
        <pc:cxnChg chg="add mod">
          <ac:chgData name="Jan K" userId="d066db4a5de46abf" providerId="LiveId" clId="{B1733AD1-BED1-4C71-B004-3296BFE0AA74}" dt="2024-11-21T17:49:08.261" v="720" actId="14100"/>
          <ac:cxnSpMkLst>
            <pc:docMk/>
            <pc:sldMk cId="4276762234" sldId="268"/>
            <ac:cxnSpMk id="2217" creationId="{EA64C112-6590-5D5D-F310-656E46CE67D2}"/>
          </ac:cxnSpMkLst>
        </pc:cxnChg>
        <pc:cxnChg chg="add mod">
          <ac:chgData name="Jan K" userId="d066db4a5de46abf" providerId="LiveId" clId="{B1733AD1-BED1-4C71-B004-3296BFE0AA74}" dt="2024-11-21T17:52:41.824" v="746" actId="14100"/>
          <ac:cxnSpMkLst>
            <pc:docMk/>
            <pc:sldMk cId="4276762234" sldId="268"/>
            <ac:cxnSpMk id="2230" creationId="{183C2758-7FAA-24AE-1569-94759E3412BF}"/>
          </ac:cxnSpMkLst>
        </pc:cxnChg>
      </pc:sldChg>
      <pc:sldChg chg="modSp add mod">
        <pc:chgData name="Jan K" userId="d066db4a5de46abf" providerId="LiveId" clId="{B1733AD1-BED1-4C71-B004-3296BFE0AA74}" dt="2024-11-24T22:19:48.047" v="774" actId="14100"/>
        <pc:sldMkLst>
          <pc:docMk/>
          <pc:sldMk cId="4291522675" sldId="269"/>
        </pc:sldMkLst>
        <pc:grpChg chg="mod">
          <ac:chgData name="Jan K" userId="d066db4a5de46abf" providerId="LiveId" clId="{B1733AD1-BED1-4C71-B004-3296BFE0AA74}" dt="2024-11-24T22:19:18.759" v="765" actId="1076"/>
          <ac:grpSpMkLst>
            <pc:docMk/>
            <pc:sldMk cId="4291522675" sldId="269"/>
            <ac:grpSpMk id="2170" creationId="{FB02B432-9295-4190-B7F8-005A38CC7EC3}"/>
          </ac:grpSpMkLst>
        </pc:grpChg>
        <pc:grpChg chg="mod">
          <ac:chgData name="Jan K" userId="d066db4a5de46abf" providerId="LiveId" clId="{B1733AD1-BED1-4C71-B004-3296BFE0AA74}" dt="2024-11-24T22:19:14.867" v="764" actId="1076"/>
          <ac:grpSpMkLst>
            <pc:docMk/>
            <pc:sldMk cId="4291522675" sldId="269"/>
            <ac:grpSpMk id="2178" creationId="{C0EF2109-7F1D-D3D6-71C4-876AFB295E3E}"/>
          </ac:grpSpMkLst>
        </pc:grpChg>
        <pc:cxnChg chg="mod">
          <ac:chgData name="Jan K" userId="d066db4a5de46abf" providerId="LiveId" clId="{B1733AD1-BED1-4C71-B004-3296BFE0AA74}" dt="2024-11-24T22:19:24.045" v="767" actId="14100"/>
          <ac:cxnSpMkLst>
            <pc:docMk/>
            <pc:sldMk cId="4291522675" sldId="269"/>
            <ac:cxnSpMk id="2094" creationId="{00F69F31-0946-EB92-DD29-56E52789E270}"/>
          </ac:cxnSpMkLst>
        </pc:cxnChg>
        <pc:cxnChg chg="mod">
          <ac:chgData name="Jan K" userId="d066db4a5de46abf" providerId="LiveId" clId="{B1733AD1-BED1-4C71-B004-3296BFE0AA74}" dt="2024-11-24T22:19:48.047" v="774" actId="14100"/>
          <ac:cxnSpMkLst>
            <pc:docMk/>
            <pc:sldMk cId="4291522675" sldId="269"/>
            <ac:cxnSpMk id="2185" creationId="{491E88D4-A35B-2ACE-0403-83B10FC7BC83}"/>
          </ac:cxnSpMkLst>
        </pc:cxnChg>
        <pc:cxnChg chg="mod">
          <ac:chgData name="Jan K" userId="d066db4a5de46abf" providerId="LiveId" clId="{B1733AD1-BED1-4C71-B004-3296BFE0AA74}" dt="2024-11-24T22:19:45.547" v="773" actId="14100"/>
          <ac:cxnSpMkLst>
            <pc:docMk/>
            <pc:sldMk cId="4291522675" sldId="269"/>
            <ac:cxnSpMk id="2188" creationId="{C89B551D-FE44-8A69-979E-3B1C807A53F3}"/>
          </ac:cxnSpMkLst>
        </pc:cxnChg>
      </pc:sldChg>
      <pc:sldChg chg="modSp add mod">
        <pc:chgData name="Jan K" userId="d066db4a5de46abf" providerId="LiveId" clId="{B1733AD1-BED1-4C71-B004-3296BFE0AA74}" dt="2024-12-04T22:52:27.700" v="787" actId="20577"/>
        <pc:sldMkLst>
          <pc:docMk/>
          <pc:sldMk cId="933041140" sldId="270"/>
        </pc:sldMkLst>
        <pc:spChg chg="mod">
          <ac:chgData name="Jan K" userId="d066db4a5de46abf" providerId="LiveId" clId="{B1733AD1-BED1-4C71-B004-3296BFE0AA74}" dt="2024-12-04T22:52:27.700" v="787" actId="20577"/>
          <ac:spMkLst>
            <pc:docMk/>
            <pc:sldMk cId="933041140" sldId="270"/>
            <ac:spMk id="2236" creationId="{FA029E11-D720-12BF-EC62-CED840E7BB21}"/>
          </ac:spMkLst>
        </pc:spChg>
        <pc:grpChg chg="mod">
          <ac:chgData name="Jan K" userId="d066db4a5de46abf" providerId="LiveId" clId="{B1733AD1-BED1-4C71-B004-3296BFE0AA74}" dt="2024-12-04T22:51:46.660" v="777" actId="1076"/>
          <ac:grpSpMkLst>
            <pc:docMk/>
            <pc:sldMk cId="933041140" sldId="270"/>
            <ac:grpSpMk id="32" creationId="{67AEA8F6-A241-1F1B-150F-BA1F6FA9ED7E}"/>
          </ac:grpSpMkLst>
        </pc:grpChg>
        <pc:grpChg chg="mod">
          <ac:chgData name="Jan K" userId="d066db4a5de46abf" providerId="LiveId" clId="{B1733AD1-BED1-4C71-B004-3296BFE0AA74}" dt="2024-12-04T22:52:19.894" v="781" actId="1076"/>
          <ac:grpSpMkLst>
            <pc:docMk/>
            <pc:sldMk cId="933041140" sldId="270"/>
            <ac:grpSpMk id="2234" creationId="{E10D653C-41AE-7615-7A5C-6FF906E5FDBC}"/>
          </ac:grpSpMkLst>
        </pc:grpChg>
        <pc:cxnChg chg="mod">
          <ac:chgData name="Jan K" userId="d066db4a5de46abf" providerId="LiveId" clId="{B1733AD1-BED1-4C71-B004-3296BFE0AA74}" dt="2024-12-04T22:52:08.969" v="780" actId="1076"/>
          <ac:cxnSpMkLst>
            <pc:docMk/>
            <pc:sldMk cId="933041140" sldId="270"/>
            <ac:cxnSpMk id="33" creationId="{EC4D88A3-6C41-3710-50B3-0F6124396DBB}"/>
          </ac:cxnSpMkLst>
        </pc:cxnChg>
        <pc:cxnChg chg="mod">
          <ac:chgData name="Jan K" userId="d066db4a5de46abf" providerId="LiveId" clId="{B1733AD1-BED1-4C71-B004-3296BFE0AA74}" dt="2024-12-04T22:51:46.660" v="777" actId="1076"/>
          <ac:cxnSpMkLst>
            <pc:docMk/>
            <pc:sldMk cId="933041140" sldId="270"/>
            <ac:cxnSpMk id="2185" creationId="{336B0FB7-7979-5CE5-FDC1-8EC925F6B34B}"/>
          </ac:cxnSpMkLst>
        </pc:cxnChg>
        <pc:cxnChg chg="mod">
          <ac:chgData name="Jan K" userId="d066db4a5de46abf" providerId="LiveId" clId="{B1733AD1-BED1-4C71-B004-3296BFE0AA74}" dt="2024-12-04T22:51:57.929" v="779" actId="14100"/>
          <ac:cxnSpMkLst>
            <pc:docMk/>
            <pc:sldMk cId="933041140" sldId="270"/>
            <ac:cxnSpMk id="2188" creationId="{808C43A7-DC14-D417-B8E0-7CBFF6FA309D}"/>
          </ac:cxnSpMkLst>
        </pc:cxnChg>
        <pc:cxnChg chg="mod">
          <ac:chgData name="Jan K" userId="d066db4a5de46abf" providerId="LiveId" clId="{B1733AD1-BED1-4C71-B004-3296BFE0AA74}" dt="2024-12-04T22:52:19.894" v="781" actId="1076"/>
          <ac:cxnSpMkLst>
            <pc:docMk/>
            <pc:sldMk cId="933041140" sldId="270"/>
            <ac:cxnSpMk id="2230" creationId="{A76AC531-8D28-937D-A9A6-0766ED2CCD5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501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560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9CA8B-02C7-2B8D-DE4D-41933E210D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3625A1-D3C6-7200-7FFD-7F9013538B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4939C7-DAFF-82A2-091F-F873DFE4D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7E206-2D4A-815B-33C1-F7E7DEB13B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67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23E08E-DE53-B40C-B440-53A7D14F44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DB49DE-92C5-19E4-2E0B-A48846E8DA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3F20C0-B6F1-D3BB-B817-655E6F258F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E0BB8-089C-EF62-6FBB-4078789AB7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11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2/04/2024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2/04/2024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2/04/2024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2/04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2/04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2.jpeg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jpeg"/><Relationship Id="rId5" Type="http://schemas.openxmlformats.org/officeDocument/2006/relationships/image" Target="../media/image20.jpeg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jpeg"/><Relationship Id="rId5" Type="http://schemas.openxmlformats.org/officeDocument/2006/relationships/image" Target="../media/image20.jpeg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jpeg"/><Relationship Id="rId5" Type="http://schemas.openxmlformats.org/officeDocument/2006/relationships/image" Target="../media/image20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2" name="Picture 161">
            <a:extLst>
              <a:ext uri="{FF2B5EF4-FFF2-40B4-BE49-F238E27FC236}">
                <a16:creationId xmlns:a16="http://schemas.microsoft.com/office/drawing/2014/main" id="{FA0BAECB-7633-42F5-8C65-56CF83896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1719" y="4763961"/>
            <a:ext cx="1495299" cy="1072818"/>
          </a:xfrm>
          <a:prstGeom prst="rect">
            <a:avLst/>
          </a:prstGeom>
        </p:spPr>
      </p:pic>
      <p:pic>
        <p:nvPicPr>
          <p:cNvPr id="13314" name="Picture 2" descr="1 x Lego System Electric Motor DEFEKT 9V schwarz Eisenbahn Zug Lok für  Cargo Railway Krokodil Lokomotive Metroliner Train 10132 4551 590 70358 |  Steinpalast">
            <a:extLst>
              <a:ext uri="{FF2B5EF4-FFF2-40B4-BE49-F238E27FC236}">
                <a16:creationId xmlns:a16="http://schemas.microsoft.com/office/drawing/2014/main" id="{9442CF5A-AEB8-4B81-A44E-89F4E9340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306" y="5345531"/>
            <a:ext cx="1671928" cy="167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4434" y="1649070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rot="5400000" flipH="1">
            <a:off x="564154" y="4490287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FA6464B-50CF-4885-BD3A-83129482EE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1439232" y="2554390"/>
            <a:ext cx="777571" cy="12860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0F4B35-5679-4947-BC2E-C7A4E87139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15846" y="3012853"/>
            <a:ext cx="1106552" cy="5449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6B06C3-CBC5-4EAA-A964-9ED7B04A63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6426558" y="5219696"/>
            <a:ext cx="829192" cy="918178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stCxn id="11" idx="3"/>
            <a:endCxn id="5" idx="1"/>
          </p:cNvCxnSpPr>
          <p:nvPr/>
        </p:nvCxnSpPr>
        <p:spPr>
          <a:xfrm flipH="1">
            <a:off x="1680532" y="3017784"/>
            <a:ext cx="692577" cy="2910000"/>
          </a:xfrm>
          <a:prstGeom prst="bentConnector4">
            <a:avLst>
              <a:gd name="adj1" fmla="val -64248"/>
              <a:gd name="adj2" fmla="val 5885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2265097" y="296377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2265097" y="282469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2265097" y="34498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2265097" y="327458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4" idx="3"/>
            <a:endCxn id="5" idx="3"/>
          </p:cNvCxnSpPr>
          <p:nvPr/>
        </p:nvCxnSpPr>
        <p:spPr>
          <a:xfrm flipH="1">
            <a:off x="1680532" y="3328588"/>
            <a:ext cx="692577" cy="366441"/>
          </a:xfrm>
          <a:prstGeom prst="bentConnector4">
            <a:avLst>
              <a:gd name="adj1" fmla="val -33007"/>
              <a:gd name="adj2" fmla="val 318374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D529A50-48F2-4185-8718-B1952E0EB663}"/>
              </a:ext>
            </a:extLst>
          </p:cNvPr>
          <p:cNvCxnSpPr>
            <a:cxnSpLocks/>
            <a:stCxn id="13" idx="3"/>
            <a:endCxn id="17" idx="1"/>
          </p:cNvCxnSpPr>
          <p:nvPr/>
        </p:nvCxnSpPr>
        <p:spPr>
          <a:xfrm flipV="1">
            <a:off x="2373109" y="3285348"/>
            <a:ext cx="1309142" cy="218489"/>
          </a:xfrm>
          <a:prstGeom prst="bentConnector3">
            <a:avLst>
              <a:gd name="adj1" fmla="val 66007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C8F0A43-ED33-4791-8DDA-78C841B6DC8E}"/>
              </a:ext>
            </a:extLst>
          </p:cNvPr>
          <p:cNvSpPr/>
          <p:nvPr/>
        </p:nvSpPr>
        <p:spPr>
          <a:xfrm>
            <a:off x="3682251" y="32313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FD77E1-112F-43F8-9EC9-3806199CDF1C}"/>
              </a:ext>
            </a:extLst>
          </p:cNvPr>
          <p:cNvSpPr/>
          <p:nvPr/>
        </p:nvSpPr>
        <p:spPr>
          <a:xfrm>
            <a:off x="4567076" y="343002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BB64A1-C439-4D2E-BD53-44C13123A91D}"/>
              </a:ext>
            </a:extLst>
          </p:cNvPr>
          <p:cNvSpPr/>
          <p:nvPr/>
        </p:nvSpPr>
        <p:spPr>
          <a:xfrm>
            <a:off x="4564087" y="302470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8E86A-EF69-41E5-B41D-635E128C123C}"/>
              </a:ext>
            </a:extLst>
          </p:cNvPr>
          <p:cNvSpPr/>
          <p:nvPr/>
        </p:nvSpPr>
        <p:spPr>
          <a:xfrm>
            <a:off x="3672878" y="343378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2373109" y="2534823"/>
            <a:ext cx="880285" cy="34387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8153" y="1365964"/>
            <a:ext cx="550483" cy="118167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199388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3366877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20" idx="1"/>
            <a:endCxn id="24" idx="2"/>
          </p:cNvCxnSpPr>
          <p:nvPr/>
        </p:nvCxnSpPr>
        <p:spPr>
          <a:xfrm rot="10800000">
            <a:off x="3420884" y="2534824"/>
            <a:ext cx="251995" cy="95296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7624505" y="277181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6411317" y="55573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7621516" y="264011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" idx="3"/>
            <a:endCxn id="26" idx="3"/>
          </p:cNvCxnSpPr>
          <p:nvPr/>
        </p:nvCxnSpPr>
        <p:spPr>
          <a:xfrm flipV="1">
            <a:off x="4672099" y="2825821"/>
            <a:ext cx="3060418" cy="252893"/>
          </a:xfrm>
          <a:prstGeom prst="bentConnector3">
            <a:avLst>
              <a:gd name="adj1" fmla="val 10747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8" idx="3"/>
            <a:endCxn id="28" idx="3"/>
          </p:cNvCxnSpPr>
          <p:nvPr/>
        </p:nvCxnSpPr>
        <p:spPr>
          <a:xfrm flipV="1">
            <a:off x="4675088" y="2694122"/>
            <a:ext cx="3054440" cy="789908"/>
          </a:xfrm>
          <a:prstGeom prst="bentConnector3">
            <a:avLst>
              <a:gd name="adj1" fmla="val 11164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7" idx="1"/>
            <a:endCxn id="119" idx="4"/>
          </p:cNvCxnSpPr>
          <p:nvPr/>
        </p:nvCxnSpPr>
        <p:spPr>
          <a:xfrm rot="10800000">
            <a:off x="3423285" y="3528979"/>
            <a:ext cx="2988033" cy="2082330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21" idx="4"/>
            <a:endCxn id="33" idx="1"/>
          </p:cNvCxnSpPr>
          <p:nvPr/>
        </p:nvCxnSpPr>
        <p:spPr>
          <a:xfrm rot="16200000" flipH="1">
            <a:off x="3710272" y="3055454"/>
            <a:ext cx="2213461" cy="3161845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6397925" y="568910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1621971" y="366426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1620166" y="581609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6411317" y="58180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6411317" y="5955711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</p:cNvCxnSpPr>
          <p:nvPr/>
        </p:nvCxnSpPr>
        <p:spPr>
          <a:xfrm rot="10800000" flipH="1">
            <a:off x="6412639" y="2330589"/>
            <a:ext cx="114372" cy="3664517"/>
          </a:xfrm>
          <a:prstGeom prst="bentConnector3">
            <a:avLst>
              <a:gd name="adj1" fmla="val -41085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6525689" y="229119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6525689" y="241020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6525689" y="253210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3086B-2879-4B94-B0E3-4CE1E8E9824C}"/>
              </a:ext>
            </a:extLst>
          </p:cNvPr>
          <p:cNvSpPr/>
          <p:nvPr/>
        </p:nvSpPr>
        <p:spPr>
          <a:xfrm>
            <a:off x="6527104" y="265400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8" idx="1"/>
            <a:endCxn id="42" idx="1"/>
          </p:cNvCxnSpPr>
          <p:nvPr/>
        </p:nvCxnSpPr>
        <p:spPr>
          <a:xfrm rot="10800000" flipH="1">
            <a:off x="6411317" y="2464206"/>
            <a:ext cx="114372" cy="3407842"/>
          </a:xfrm>
          <a:prstGeom prst="bentConnector3">
            <a:avLst>
              <a:gd name="adj1" fmla="val -27390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129" idx="2"/>
            <a:endCxn id="43" idx="1"/>
          </p:cNvCxnSpPr>
          <p:nvPr/>
        </p:nvCxnSpPr>
        <p:spPr>
          <a:xfrm rot="5400000" flipH="1">
            <a:off x="6573362" y="2538437"/>
            <a:ext cx="2253581" cy="2348928"/>
          </a:xfrm>
          <a:prstGeom prst="bentConnector4">
            <a:avLst>
              <a:gd name="adj1" fmla="val -15498"/>
              <a:gd name="adj2" fmla="val 113246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128" idx="2"/>
            <a:endCxn id="44" idx="1"/>
          </p:cNvCxnSpPr>
          <p:nvPr/>
        </p:nvCxnSpPr>
        <p:spPr>
          <a:xfrm rot="5400000" flipH="1">
            <a:off x="6580969" y="2654149"/>
            <a:ext cx="2131677" cy="2239408"/>
          </a:xfrm>
          <a:prstGeom prst="bentConnector4">
            <a:avLst>
              <a:gd name="adj1" fmla="val -10724"/>
              <a:gd name="adj2" fmla="val 10935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7164383" y="542708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7164383" y="56878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7173985" y="555467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7176908" y="581706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3671E6-FFD4-43CC-87B4-69571835F957}"/>
              </a:ext>
            </a:extLst>
          </p:cNvPr>
          <p:cNvSpPr/>
          <p:nvPr/>
        </p:nvSpPr>
        <p:spPr>
          <a:xfrm>
            <a:off x="8769954" y="609402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394138-2A42-4E30-90D3-BE119296E9C4}"/>
              </a:ext>
            </a:extLst>
          </p:cNvPr>
          <p:cNvSpPr/>
          <p:nvPr/>
        </p:nvSpPr>
        <p:spPr>
          <a:xfrm>
            <a:off x="8773250" y="627537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56" idx="1"/>
            <a:endCxn id="51" idx="3"/>
          </p:cNvCxnSpPr>
          <p:nvPr/>
        </p:nvCxnSpPr>
        <p:spPr>
          <a:xfrm rot="10800000">
            <a:off x="7284920" y="5871075"/>
            <a:ext cx="1488330" cy="45830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55" idx="1"/>
            <a:endCxn id="49" idx="3"/>
          </p:cNvCxnSpPr>
          <p:nvPr/>
        </p:nvCxnSpPr>
        <p:spPr>
          <a:xfrm rot="10800000">
            <a:off x="7272396" y="5741854"/>
            <a:ext cx="1497559" cy="406175"/>
          </a:xfrm>
          <a:prstGeom prst="bentConnector3">
            <a:avLst>
              <a:gd name="adj1" fmla="val 4341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3474890" y="2110907"/>
            <a:ext cx="3044707" cy="36991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6519596" y="2056901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5676335" y="2021516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189" idx="1"/>
            <a:endCxn id="83" idx="3"/>
          </p:cNvCxnSpPr>
          <p:nvPr/>
        </p:nvCxnSpPr>
        <p:spPr>
          <a:xfrm rot="10800000">
            <a:off x="7713281" y="2563741"/>
            <a:ext cx="1771855" cy="115894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7605268" y="250973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1085496" y="616826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Zelle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970530" y="2367514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+ </a:t>
            </a:r>
            <a:r>
              <a:rPr lang="de-DE" sz="1000" dirty="0" err="1"/>
              <a:t>Discharge</a:t>
            </a:r>
            <a:r>
              <a:rPr lang="de-DE" sz="1000" dirty="0"/>
              <a:t> </a:t>
            </a:r>
            <a:r>
              <a:rPr lang="de-DE" sz="1000" dirty="0" err="1"/>
              <a:t>Protection</a:t>
            </a:r>
            <a:r>
              <a:rPr lang="de-DE" sz="1000" dirty="0"/>
              <a:t>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153223" y="1457596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chalter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6576240" y="1256178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3575329" y="3604946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6204153" y="6244294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treib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DRV8833 H-Bridge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3387284" y="345697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052852" y="3441811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3200080" y="3457647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C7FF4B0-BE53-4852-ADE4-5A080357159B}"/>
              </a:ext>
            </a:extLst>
          </p:cNvPr>
          <p:cNvSpPr/>
          <p:nvPr/>
        </p:nvSpPr>
        <p:spPr>
          <a:xfrm>
            <a:off x="7924625" y="3042714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15DBD6-0AAB-4397-9A37-94EA07D23FCA}"/>
              </a:ext>
            </a:extLst>
          </p:cNvPr>
          <p:cNvSpPr/>
          <p:nvPr/>
        </p:nvSpPr>
        <p:spPr>
          <a:xfrm>
            <a:off x="7164383" y="59449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A7E02909-2C03-4450-8FB3-167DDE9F4B66}"/>
              </a:ext>
            </a:extLst>
          </p:cNvPr>
          <p:cNvCxnSpPr>
            <a:cxnSpLocks/>
            <a:stCxn id="122" idx="3"/>
            <a:endCxn id="124" idx="1"/>
          </p:cNvCxnSpPr>
          <p:nvPr/>
        </p:nvCxnSpPr>
        <p:spPr>
          <a:xfrm flipH="1" flipV="1">
            <a:off x="6523544" y="2226990"/>
            <a:ext cx="748851" cy="3771958"/>
          </a:xfrm>
          <a:prstGeom prst="bentConnector5">
            <a:avLst>
              <a:gd name="adj1" fmla="val -30527"/>
              <a:gd name="adj2" fmla="val -5667"/>
              <a:gd name="adj3" fmla="val 19779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2DDAD54-D769-4590-B759-D3C725587589}"/>
              </a:ext>
            </a:extLst>
          </p:cNvPr>
          <p:cNvSpPr/>
          <p:nvPr/>
        </p:nvSpPr>
        <p:spPr>
          <a:xfrm>
            <a:off x="6523544" y="217298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BDF631B-C341-4216-B6C9-D61F9D6C6283}"/>
              </a:ext>
            </a:extLst>
          </p:cNvPr>
          <p:cNvSpPr/>
          <p:nvPr/>
        </p:nvSpPr>
        <p:spPr>
          <a:xfrm>
            <a:off x="1285168" y="282581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FA1BBAF-7BA1-4C8C-9E48-4EB9E51287A7}"/>
              </a:ext>
            </a:extLst>
          </p:cNvPr>
          <p:cNvSpPr/>
          <p:nvPr/>
        </p:nvSpPr>
        <p:spPr>
          <a:xfrm>
            <a:off x="1285168" y="34211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208E4BE-6D75-4F03-8808-4DD1C358E60C}"/>
              </a:ext>
            </a:extLst>
          </p:cNvPr>
          <p:cNvSpPr/>
          <p:nvPr/>
        </p:nvSpPr>
        <p:spPr>
          <a:xfrm>
            <a:off x="182044" y="283107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C775EBC-0132-4901-AB25-2262ABAC2D66}"/>
              </a:ext>
            </a:extLst>
          </p:cNvPr>
          <p:cNvSpPr/>
          <p:nvPr/>
        </p:nvSpPr>
        <p:spPr>
          <a:xfrm>
            <a:off x="182044" y="34264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5820E37-0C45-44B1-B435-BBC9ED95193A}"/>
              </a:ext>
            </a:extLst>
          </p:cNvPr>
          <p:cNvCxnSpPr>
            <a:stCxn id="89" idx="3"/>
            <a:endCxn id="87" idx="1"/>
          </p:cNvCxnSpPr>
          <p:nvPr/>
        </p:nvCxnSpPr>
        <p:spPr>
          <a:xfrm flipV="1">
            <a:off x="290056" y="2879825"/>
            <a:ext cx="995112" cy="525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DABB561-7A2D-4604-AAA6-323A402674E9}"/>
              </a:ext>
            </a:extLst>
          </p:cNvPr>
          <p:cNvCxnSpPr>
            <a:cxnSpLocks/>
            <a:stCxn id="90" idx="3"/>
            <a:endCxn id="88" idx="1"/>
          </p:cNvCxnSpPr>
          <p:nvPr/>
        </p:nvCxnSpPr>
        <p:spPr>
          <a:xfrm flipV="1">
            <a:off x="290056" y="3475185"/>
            <a:ext cx="995112" cy="525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174B6F9-C102-4921-968C-F5CB6F6FBBED}"/>
              </a:ext>
            </a:extLst>
          </p:cNvPr>
          <p:cNvCxnSpPr/>
          <p:nvPr/>
        </p:nvCxnSpPr>
        <p:spPr>
          <a:xfrm>
            <a:off x="522855" y="3132397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FEA7BC8-A55F-45D7-941C-78B976F42945}"/>
              </a:ext>
            </a:extLst>
          </p:cNvPr>
          <p:cNvCxnSpPr/>
          <p:nvPr/>
        </p:nvCxnSpPr>
        <p:spPr>
          <a:xfrm>
            <a:off x="522855" y="3243229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9F8710D5-6406-4E31-B57C-2ECA039ED576}"/>
              </a:ext>
            </a:extLst>
          </p:cNvPr>
          <p:cNvCxnSpPr>
            <a:cxnSpLocks/>
          </p:cNvCxnSpPr>
          <p:nvPr/>
        </p:nvCxnSpPr>
        <p:spPr>
          <a:xfrm flipV="1">
            <a:off x="654565" y="2885077"/>
            <a:ext cx="0" cy="23842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7438F7CA-349B-4E7A-85A3-1288C2000933}"/>
              </a:ext>
            </a:extLst>
          </p:cNvPr>
          <p:cNvCxnSpPr>
            <a:cxnSpLocks/>
          </p:cNvCxnSpPr>
          <p:nvPr/>
        </p:nvCxnSpPr>
        <p:spPr>
          <a:xfrm flipV="1">
            <a:off x="654565" y="3243229"/>
            <a:ext cx="0" cy="23842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>
            <a:extLst>
              <a:ext uri="{FF2B5EF4-FFF2-40B4-BE49-F238E27FC236}">
                <a16:creationId xmlns:a16="http://schemas.microsoft.com/office/drawing/2014/main" id="{E08B960C-61AC-4051-88D4-6D731CD9EB66}"/>
              </a:ext>
            </a:extLst>
          </p:cNvPr>
          <p:cNvSpPr/>
          <p:nvPr/>
        </p:nvSpPr>
        <p:spPr>
          <a:xfrm>
            <a:off x="620229" y="345510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F1BA8770-8C99-4CB1-A263-735A091A855D}"/>
              </a:ext>
            </a:extLst>
          </p:cNvPr>
          <p:cNvSpPr/>
          <p:nvPr/>
        </p:nvSpPr>
        <p:spPr>
          <a:xfrm>
            <a:off x="616464" y="284269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FD5904B-63EB-4E32-9320-4E209A716B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8566356" y="3922704"/>
            <a:ext cx="939900" cy="918975"/>
          </a:xfrm>
          <a:prstGeom prst="rect">
            <a:avLst/>
          </a:prstGeom>
        </p:spPr>
      </p:pic>
      <p:sp>
        <p:nvSpPr>
          <p:cNvPr id="117" name="Rectangle 116">
            <a:extLst>
              <a:ext uri="{FF2B5EF4-FFF2-40B4-BE49-F238E27FC236}">
                <a16:creationId xmlns:a16="http://schemas.microsoft.com/office/drawing/2014/main" id="{B8ACBC0B-D44C-4D45-B20A-48224C41894E}"/>
              </a:ext>
            </a:extLst>
          </p:cNvPr>
          <p:cNvSpPr/>
          <p:nvPr/>
        </p:nvSpPr>
        <p:spPr>
          <a:xfrm>
            <a:off x="8608559" y="473167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234DB90-9875-4DDF-8AE5-ADF475AA0D7D}"/>
              </a:ext>
            </a:extLst>
          </p:cNvPr>
          <p:cNvSpPr/>
          <p:nvPr/>
        </p:nvSpPr>
        <p:spPr>
          <a:xfrm>
            <a:off x="9257897" y="47316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8CD90C4-4100-4C1A-A2C6-516E6CF54C0A}"/>
              </a:ext>
            </a:extLst>
          </p:cNvPr>
          <p:cNvSpPr/>
          <p:nvPr/>
        </p:nvSpPr>
        <p:spPr>
          <a:xfrm>
            <a:off x="9365971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14F1925-F1DC-49F5-B223-E33F49A94E07}"/>
              </a:ext>
            </a:extLst>
          </p:cNvPr>
          <p:cNvSpPr/>
          <p:nvPr/>
        </p:nvSpPr>
        <p:spPr>
          <a:xfrm>
            <a:off x="9149854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8FAD887-3668-4C2D-9BAB-77279C5691BA}"/>
              </a:ext>
            </a:extLst>
          </p:cNvPr>
          <p:cNvSpPr/>
          <p:nvPr/>
        </p:nvSpPr>
        <p:spPr>
          <a:xfrm>
            <a:off x="8712506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2993734-4430-4457-8292-53D7BF174C27}"/>
              </a:ext>
            </a:extLst>
          </p:cNvPr>
          <p:cNvSpPr/>
          <p:nvPr/>
        </p:nvSpPr>
        <p:spPr>
          <a:xfrm>
            <a:off x="8820611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417E1520-5839-488C-968A-9E7EBD14E172}"/>
              </a:ext>
            </a:extLst>
          </p:cNvPr>
          <p:cNvCxnSpPr>
            <a:cxnSpLocks/>
            <a:stCxn id="120" idx="4"/>
            <a:endCxn id="125" idx="2"/>
          </p:cNvCxnSpPr>
          <p:nvPr/>
        </p:nvCxnSpPr>
        <p:spPr>
          <a:xfrm rot="16200000" flipH="1">
            <a:off x="8037437" y="3565225"/>
            <a:ext cx="1325880" cy="1223051"/>
          </a:xfrm>
          <a:prstGeom prst="bentConnector3">
            <a:avLst>
              <a:gd name="adj1" fmla="val 144061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EA5BBE29-E830-4AA8-9672-F3D02FD3A51A}"/>
              </a:ext>
            </a:extLst>
          </p:cNvPr>
          <p:cNvCxnSpPr>
            <a:cxnSpLocks/>
            <a:stCxn id="134" idx="4"/>
            <a:endCxn id="117" idx="2"/>
          </p:cNvCxnSpPr>
          <p:nvPr/>
        </p:nvCxnSpPr>
        <p:spPr>
          <a:xfrm rot="16200000" flipH="1">
            <a:off x="7449107" y="3626232"/>
            <a:ext cx="1724977" cy="701940"/>
          </a:xfrm>
          <a:prstGeom prst="bentConnector3">
            <a:avLst>
              <a:gd name="adj1" fmla="val 12613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687DAEDB-0555-4C11-8F96-A127BAB1CDF9}"/>
              </a:ext>
            </a:extLst>
          </p:cNvPr>
          <p:cNvCxnSpPr>
            <a:cxnSpLocks/>
            <a:stCxn id="165" idx="1"/>
            <a:endCxn id="127" idx="2"/>
          </p:cNvCxnSpPr>
          <p:nvPr/>
        </p:nvCxnSpPr>
        <p:spPr>
          <a:xfrm rot="10800000">
            <a:off x="9203861" y="4839692"/>
            <a:ext cx="1451155" cy="508217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A6660C19-028D-4160-878F-E7C16247C899}"/>
              </a:ext>
            </a:extLst>
          </p:cNvPr>
          <p:cNvCxnSpPr>
            <a:cxnSpLocks/>
            <a:stCxn id="164" idx="1"/>
            <a:endCxn id="126" idx="2"/>
          </p:cNvCxnSpPr>
          <p:nvPr/>
        </p:nvCxnSpPr>
        <p:spPr>
          <a:xfrm rot="10800000">
            <a:off x="9419978" y="4839691"/>
            <a:ext cx="1228477" cy="343980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5CEFD73-3EC7-42BF-B3CB-3109FAE6DF91}"/>
              </a:ext>
            </a:extLst>
          </p:cNvPr>
          <p:cNvSpPr/>
          <p:nvPr/>
        </p:nvSpPr>
        <p:spPr>
          <a:xfrm>
            <a:off x="10648454" y="5129665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FCD8BE4-7DDE-432D-9B98-6929FC3661C0}"/>
              </a:ext>
            </a:extLst>
          </p:cNvPr>
          <p:cNvSpPr/>
          <p:nvPr/>
        </p:nvSpPr>
        <p:spPr>
          <a:xfrm>
            <a:off x="10655015" y="5293902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0" name="Picture 4">
            <a:extLst>
              <a:ext uri="{FF2B5EF4-FFF2-40B4-BE49-F238E27FC236}">
                <a16:creationId xmlns:a16="http://schemas.microsoft.com/office/drawing/2014/main" id="{A123ED6B-2F82-45B6-A9EE-DF0A56D3EB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1277718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3" name="Rectangle 172">
            <a:extLst>
              <a:ext uri="{FF2B5EF4-FFF2-40B4-BE49-F238E27FC236}">
                <a16:creationId xmlns:a16="http://schemas.microsoft.com/office/drawing/2014/main" id="{99CC7824-FB92-47E4-A52C-FD41DF463B7C}"/>
              </a:ext>
            </a:extLst>
          </p:cNvPr>
          <p:cNvSpPr/>
          <p:nvPr/>
        </p:nvSpPr>
        <p:spPr>
          <a:xfrm>
            <a:off x="10131957" y="184475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70302B9-8694-411B-B422-0A0FCFC4A6E6}"/>
              </a:ext>
            </a:extLst>
          </p:cNvPr>
          <p:cNvSpPr/>
          <p:nvPr/>
        </p:nvSpPr>
        <p:spPr>
          <a:xfrm>
            <a:off x="9991013" y="184475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E77767A-D306-42EC-8F7A-603B27586531}"/>
              </a:ext>
            </a:extLst>
          </p:cNvPr>
          <p:cNvSpPr/>
          <p:nvPr/>
        </p:nvSpPr>
        <p:spPr>
          <a:xfrm>
            <a:off x="10272901" y="1844759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7" name="Picture 4">
            <a:extLst>
              <a:ext uri="{FF2B5EF4-FFF2-40B4-BE49-F238E27FC236}">
                <a16:creationId xmlns:a16="http://schemas.microsoft.com/office/drawing/2014/main" id="{E84C4D6F-4CFE-4022-9C3E-64AE2B6949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072144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Rectangle 177">
            <a:extLst>
              <a:ext uri="{FF2B5EF4-FFF2-40B4-BE49-F238E27FC236}">
                <a16:creationId xmlns:a16="http://schemas.microsoft.com/office/drawing/2014/main" id="{3B05168D-3C69-49FE-BCBB-A0ED00712925}"/>
              </a:ext>
            </a:extLst>
          </p:cNvPr>
          <p:cNvSpPr/>
          <p:nvPr/>
        </p:nvSpPr>
        <p:spPr>
          <a:xfrm>
            <a:off x="10131957" y="2639185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0280660-0DA9-4D59-B9A4-024344E9DAB7}"/>
              </a:ext>
            </a:extLst>
          </p:cNvPr>
          <p:cNvSpPr/>
          <p:nvPr/>
        </p:nvSpPr>
        <p:spPr>
          <a:xfrm>
            <a:off x="9991013" y="26391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1E337429-F0DF-480C-BE99-D32F913EBB5A}"/>
              </a:ext>
            </a:extLst>
          </p:cNvPr>
          <p:cNvSpPr/>
          <p:nvPr/>
        </p:nvSpPr>
        <p:spPr>
          <a:xfrm>
            <a:off x="10272901" y="2639185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81" name="Picture 4">
            <a:extLst>
              <a:ext uri="{FF2B5EF4-FFF2-40B4-BE49-F238E27FC236}">
                <a16:creationId xmlns:a16="http://schemas.microsoft.com/office/drawing/2014/main" id="{5CF6C160-E2EB-482F-95A6-089FE13B74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868235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Rectangle 181">
            <a:extLst>
              <a:ext uri="{FF2B5EF4-FFF2-40B4-BE49-F238E27FC236}">
                <a16:creationId xmlns:a16="http://schemas.microsoft.com/office/drawing/2014/main" id="{C0E8B308-8248-408D-872A-A636E16025EE}"/>
              </a:ext>
            </a:extLst>
          </p:cNvPr>
          <p:cNvSpPr/>
          <p:nvPr/>
        </p:nvSpPr>
        <p:spPr>
          <a:xfrm>
            <a:off x="10131957" y="3435276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5A8EBDC4-F91A-4495-8A0E-0E94F45160C4}"/>
              </a:ext>
            </a:extLst>
          </p:cNvPr>
          <p:cNvSpPr/>
          <p:nvPr/>
        </p:nvSpPr>
        <p:spPr>
          <a:xfrm>
            <a:off x="9991013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2D3C706-AEE7-4AE7-8E04-8CBDD25B7DAB}"/>
              </a:ext>
            </a:extLst>
          </p:cNvPr>
          <p:cNvSpPr/>
          <p:nvPr/>
        </p:nvSpPr>
        <p:spPr>
          <a:xfrm>
            <a:off x="10272901" y="3435276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grpSp>
        <p:nvGrpSpPr>
          <p:cNvPr id="13312" name="Group 13311">
            <a:extLst>
              <a:ext uri="{FF2B5EF4-FFF2-40B4-BE49-F238E27FC236}">
                <a16:creationId xmlns:a16="http://schemas.microsoft.com/office/drawing/2014/main" id="{3D0030C0-D504-439E-AD95-DE6DE5B1E1A8}"/>
              </a:ext>
            </a:extLst>
          </p:cNvPr>
          <p:cNvGrpSpPr/>
          <p:nvPr/>
        </p:nvGrpSpPr>
        <p:grpSpPr>
          <a:xfrm rot="16200000">
            <a:off x="7295453" y="97885"/>
            <a:ext cx="619272" cy="1137438"/>
            <a:chOff x="8664872" y="228526"/>
            <a:chExt cx="619272" cy="1137438"/>
          </a:xfrm>
        </p:grpSpPr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C1767658-E408-4C1C-BA37-26420B6AA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10800000">
              <a:off x="8664872" y="228526"/>
              <a:ext cx="619272" cy="1137438"/>
            </a:xfrm>
            <a:prstGeom prst="rect">
              <a:avLst/>
            </a:prstGeom>
          </p:spPr>
        </p:pic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87276C41-5869-4249-92AA-CC871BA58873}"/>
                </a:ext>
              </a:extLst>
            </p:cNvPr>
            <p:cNvSpPr/>
            <p:nvPr/>
          </p:nvSpPr>
          <p:spPr>
            <a:xfrm>
              <a:off x="8840896" y="1231861"/>
              <a:ext cx="108012" cy="1080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500E488-A735-4086-9A54-E1CF24F7E7F1}"/>
                </a:ext>
              </a:extLst>
            </p:cNvPr>
            <p:cNvSpPr/>
            <p:nvPr/>
          </p:nvSpPr>
          <p:spPr>
            <a:xfrm>
              <a:off x="8702190" y="1231861"/>
              <a:ext cx="108012" cy="1080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D3C63CB5-9816-4C58-BC00-48FDAF44F7B8}"/>
                </a:ext>
              </a:extLst>
            </p:cNvPr>
            <p:cNvSpPr/>
            <p:nvPr/>
          </p:nvSpPr>
          <p:spPr>
            <a:xfrm>
              <a:off x="9126151" y="1231861"/>
              <a:ext cx="108012" cy="10801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317C922-EEF4-4BE8-A363-46C8FB5656B2}"/>
                </a:ext>
              </a:extLst>
            </p:cNvPr>
            <p:cNvSpPr/>
            <p:nvPr/>
          </p:nvSpPr>
          <p:spPr>
            <a:xfrm>
              <a:off x="8985207" y="1231861"/>
              <a:ext cx="108012" cy="10801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</p:grpSp>
      <p:sp>
        <p:nvSpPr>
          <p:cNvPr id="189" name="TextBox 188">
            <a:extLst>
              <a:ext uri="{FF2B5EF4-FFF2-40B4-BE49-F238E27FC236}">
                <a16:creationId xmlns:a16="http://schemas.microsoft.com/office/drawing/2014/main" id="{6035375B-11C6-4F57-A7CD-3634EDE8E907}"/>
              </a:ext>
            </a:extLst>
          </p:cNvPr>
          <p:cNvSpPr txBox="1"/>
          <p:nvPr/>
        </p:nvSpPr>
        <p:spPr>
          <a:xfrm>
            <a:off x="9485135" y="3630348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B44FCC7E-8111-4ECE-803C-414754B319BC}"/>
              </a:ext>
            </a:extLst>
          </p:cNvPr>
          <p:cNvSpPr txBox="1"/>
          <p:nvPr/>
        </p:nvSpPr>
        <p:spPr>
          <a:xfrm>
            <a:off x="7879595" y="1150322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0K</a:t>
            </a:r>
            <a:endParaRPr lang="en-DE" sz="1200" dirty="0" err="1"/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73217832-A517-4F63-A4CC-3DCD2D44E1DB}"/>
              </a:ext>
            </a:extLst>
          </p:cNvPr>
          <p:cNvSpPr/>
          <p:nvPr/>
        </p:nvSpPr>
        <p:spPr>
          <a:xfrm>
            <a:off x="8041779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C071345-8532-4DC2-A85A-0573E49AAE53}"/>
              </a:ext>
            </a:extLst>
          </p:cNvPr>
          <p:cNvCxnSpPr>
            <a:cxnSpLocks/>
            <a:stCxn id="195" idx="6"/>
            <a:endCxn id="179" idx="1"/>
          </p:cNvCxnSpPr>
          <p:nvPr/>
        </p:nvCxnSpPr>
        <p:spPr>
          <a:xfrm flipV="1">
            <a:off x="8113779" y="2693191"/>
            <a:ext cx="1877234" cy="9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Oval 199">
            <a:extLst>
              <a:ext uri="{FF2B5EF4-FFF2-40B4-BE49-F238E27FC236}">
                <a16:creationId xmlns:a16="http://schemas.microsoft.com/office/drawing/2014/main" id="{B93C7E2D-6AE8-4EDA-A6A3-1AA3106E2D97}"/>
              </a:ext>
            </a:extLst>
          </p:cNvPr>
          <p:cNvSpPr/>
          <p:nvPr/>
        </p:nvSpPr>
        <p:spPr>
          <a:xfrm>
            <a:off x="9669496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6AE58581-B8E5-40CA-9019-28FE1788A5F2}"/>
              </a:ext>
            </a:extLst>
          </p:cNvPr>
          <p:cNvCxnSpPr>
            <a:cxnSpLocks/>
            <a:stCxn id="183" idx="1"/>
            <a:endCxn id="200" idx="4"/>
          </p:cNvCxnSpPr>
          <p:nvPr/>
        </p:nvCxnSpPr>
        <p:spPr>
          <a:xfrm rot="10800000">
            <a:off x="9705497" y="2730122"/>
            <a:ext cx="285517" cy="759160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BA938332-FB33-4C98-8096-0E1B4C7E164B}"/>
              </a:ext>
            </a:extLst>
          </p:cNvPr>
          <p:cNvCxnSpPr>
            <a:cxnSpLocks/>
            <a:stCxn id="174" idx="1"/>
            <a:endCxn id="200" idx="0"/>
          </p:cNvCxnSpPr>
          <p:nvPr/>
        </p:nvCxnSpPr>
        <p:spPr>
          <a:xfrm rot="10800000" flipV="1">
            <a:off x="9705497" y="1898764"/>
            <a:ext cx="285517" cy="75935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84ACEBE2-F1C0-4062-A651-9F626B18A9F2}"/>
              </a:ext>
            </a:extLst>
          </p:cNvPr>
          <p:cNvSpPr txBox="1"/>
          <p:nvPr/>
        </p:nvSpPr>
        <p:spPr>
          <a:xfrm>
            <a:off x="9485135" y="279096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BA72EEA6-36D1-485C-99B0-B25437BFCD25}"/>
              </a:ext>
            </a:extLst>
          </p:cNvPr>
          <p:cNvSpPr txBox="1"/>
          <p:nvPr/>
        </p:nvSpPr>
        <p:spPr>
          <a:xfrm>
            <a:off x="9485135" y="199788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F11CA19-1210-4809-955F-5E5B4C744870}"/>
              </a:ext>
            </a:extLst>
          </p:cNvPr>
          <p:cNvSpPr/>
          <p:nvPr/>
        </p:nvSpPr>
        <p:spPr>
          <a:xfrm>
            <a:off x="7593656" y="228739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56C892-3A12-4F89-9BA6-BC4C4B271E6D}"/>
              </a:ext>
            </a:extLst>
          </p:cNvPr>
          <p:cNvSpPr/>
          <p:nvPr/>
        </p:nvSpPr>
        <p:spPr>
          <a:xfrm>
            <a:off x="7595391" y="216161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065739BB-D8F0-46ED-8836-F28E2BDA3FA0}"/>
              </a:ext>
            </a:extLst>
          </p:cNvPr>
          <p:cNvCxnSpPr>
            <a:cxnSpLocks/>
            <a:stCxn id="193" idx="1"/>
            <a:endCxn id="215" idx="3"/>
          </p:cNvCxnSpPr>
          <p:nvPr/>
        </p:nvCxnSpPr>
        <p:spPr>
          <a:xfrm rot="10800000">
            <a:off x="7701669" y="2341405"/>
            <a:ext cx="1783467" cy="54189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272FA70A-155A-43E5-B646-543B7A9DCA1E}"/>
              </a:ext>
            </a:extLst>
          </p:cNvPr>
          <p:cNvCxnSpPr>
            <a:cxnSpLocks/>
            <a:stCxn id="194" idx="1"/>
            <a:endCxn id="216" idx="3"/>
          </p:cNvCxnSpPr>
          <p:nvPr/>
        </p:nvCxnSpPr>
        <p:spPr>
          <a:xfrm rot="10800000" flipV="1">
            <a:off x="7703403" y="2090218"/>
            <a:ext cx="1781732" cy="12540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9E50825A-1C4F-421F-9FA7-81EB158FB756}"/>
              </a:ext>
            </a:extLst>
          </p:cNvPr>
          <p:cNvCxnSpPr>
            <a:cxnSpLocks/>
            <a:stCxn id="173" idx="2"/>
          </p:cNvCxnSpPr>
          <p:nvPr/>
        </p:nvCxnSpPr>
        <p:spPr>
          <a:xfrm rot="5400000">
            <a:off x="9990792" y="1887820"/>
            <a:ext cx="130220" cy="260122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52770EFB-67AA-46E3-B573-758C5D92F5F2}"/>
              </a:ext>
            </a:extLst>
          </p:cNvPr>
          <p:cNvCxnSpPr>
            <a:cxnSpLocks/>
            <a:stCxn id="178" idx="2"/>
            <a:endCxn id="193" idx="3"/>
          </p:cNvCxnSpPr>
          <p:nvPr/>
        </p:nvCxnSpPr>
        <p:spPr>
          <a:xfrm rot="5400000">
            <a:off x="9983498" y="2680834"/>
            <a:ext cx="136102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20A215DA-71AF-4F17-AADB-8DBEE2A81BF2}"/>
              </a:ext>
            </a:extLst>
          </p:cNvPr>
          <p:cNvCxnSpPr>
            <a:cxnSpLocks/>
            <a:stCxn id="182" idx="2"/>
            <a:endCxn id="189" idx="3"/>
          </p:cNvCxnSpPr>
          <p:nvPr/>
        </p:nvCxnSpPr>
        <p:spPr>
          <a:xfrm rot="5400000">
            <a:off x="9961853" y="3498570"/>
            <a:ext cx="179393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02BB35B2-A03F-4181-8C16-D4CE67A97DA3}"/>
              </a:ext>
            </a:extLst>
          </p:cNvPr>
          <p:cNvCxnSpPr>
            <a:cxnSpLocks/>
            <a:stCxn id="184" idx="3"/>
            <a:endCxn id="245" idx="1"/>
          </p:cNvCxnSpPr>
          <p:nvPr/>
        </p:nvCxnSpPr>
        <p:spPr>
          <a:xfrm>
            <a:off x="10380913" y="3489282"/>
            <a:ext cx="697319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TextBox 236">
            <a:extLst>
              <a:ext uri="{FF2B5EF4-FFF2-40B4-BE49-F238E27FC236}">
                <a16:creationId xmlns:a16="http://schemas.microsoft.com/office/drawing/2014/main" id="{E92128A6-A3B5-48FA-B377-90DC23B6B37B}"/>
              </a:ext>
            </a:extLst>
          </p:cNvPr>
          <p:cNvSpPr txBox="1"/>
          <p:nvPr/>
        </p:nvSpPr>
        <p:spPr>
          <a:xfrm>
            <a:off x="11146367" y="175242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35ED4CA6-93B2-448C-9908-F654DE0667A2}"/>
              </a:ext>
            </a:extLst>
          </p:cNvPr>
          <p:cNvSpPr/>
          <p:nvPr/>
        </p:nvSpPr>
        <p:spPr>
          <a:xfrm>
            <a:off x="11078232" y="17367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75E73609-D363-4E0C-8EB2-8DD421B51BEE}"/>
              </a:ext>
            </a:extLst>
          </p:cNvPr>
          <p:cNvSpPr/>
          <p:nvPr/>
        </p:nvSpPr>
        <p:spPr>
          <a:xfrm>
            <a:off x="11078232" y="184291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DF289541-D62C-4244-A272-D2DB0E9D6B60}"/>
              </a:ext>
            </a:extLst>
          </p:cNvPr>
          <p:cNvSpPr txBox="1"/>
          <p:nvPr/>
        </p:nvSpPr>
        <p:spPr>
          <a:xfrm>
            <a:off x="11146367" y="254545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CE95B0D7-6D72-4230-B415-394FE0EEB98D}"/>
              </a:ext>
            </a:extLst>
          </p:cNvPr>
          <p:cNvSpPr/>
          <p:nvPr/>
        </p:nvSpPr>
        <p:spPr>
          <a:xfrm>
            <a:off x="11078232" y="2529776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0E676C0A-5906-4122-B4C1-B3FE0C1BBE20}"/>
              </a:ext>
            </a:extLst>
          </p:cNvPr>
          <p:cNvSpPr/>
          <p:nvPr/>
        </p:nvSpPr>
        <p:spPr>
          <a:xfrm>
            <a:off x="11078232" y="26359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784D2D3-8D25-4076-B67C-8D91AE54B7D7}"/>
              </a:ext>
            </a:extLst>
          </p:cNvPr>
          <p:cNvSpPr txBox="1"/>
          <p:nvPr/>
        </p:nvSpPr>
        <p:spPr>
          <a:xfrm>
            <a:off x="11146367" y="3344789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878A63CC-83CA-479E-8C30-9DCA5340C3FF}"/>
              </a:ext>
            </a:extLst>
          </p:cNvPr>
          <p:cNvSpPr/>
          <p:nvPr/>
        </p:nvSpPr>
        <p:spPr>
          <a:xfrm>
            <a:off x="11078232" y="332911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02525697-A37D-4AB6-9E6B-9B4E42FC4A7A}"/>
              </a:ext>
            </a:extLst>
          </p:cNvPr>
          <p:cNvSpPr/>
          <p:nvPr/>
        </p:nvSpPr>
        <p:spPr>
          <a:xfrm>
            <a:off x="11078232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48" name="Connector: Elbow 247">
            <a:extLst>
              <a:ext uri="{FF2B5EF4-FFF2-40B4-BE49-F238E27FC236}">
                <a16:creationId xmlns:a16="http://schemas.microsoft.com/office/drawing/2014/main" id="{595AF130-FEB7-48BF-85C5-A8A4AE1F2849}"/>
              </a:ext>
            </a:extLst>
          </p:cNvPr>
          <p:cNvCxnSpPr>
            <a:cxnSpLocks/>
            <a:stCxn id="180" idx="3"/>
            <a:endCxn id="242" idx="1"/>
          </p:cNvCxnSpPr>
          <p:nvPr/>
        </p:nvCxnSpPr>
        <p:spPr>
          <a:xfrm flipV="1">
            <a:off x="10380913" y="2689948"/>
            <a:ext cx="697319" cy="3243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28A24D62-1739-4553-B403-938681720EDB}"/>
              </a:ext>
            </a:extLst>
          </p:cNvPr>
          <p:cNvCxnSpPr>
            <a:cxnSpLocks/>
            <a:stCxn id="176" idx="3"/>
            <a:endCxn id="239" idx="1"/>
          </p:cNvCxnSpPr>
          <p:nvPr/>
        </p:nvCxnSpPr>
        <p:spPr>
          <a:xfrm flipV="1">
            <a:off x="10380913" y="1896919"/>
            <a:ext cx="697319" cy="1846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Connector: Elbow 253">
            <a:extLst>
              <a:ext uri="{FF2B5EF4-FFF2-40B4-BE49-F238E27FC236}">
                <a16:creationId xmlns:a16="http://schemas.microsoft.com/office/drawing/2014/main" id="{0CC88691-1179-47BE-BF33-1CA1EBC2407F}"/>
              </a:ext>
            </a:extLst>
          </p:cNvPr>
          <p:cNvCxnSpPr>
            <a:cxnSpLocks/>
            <a:stCxn id="187" idx="2"/>
            <a:endCxn id="238" idx="1"/>
          </p:cNvCxnSpPr>
          <p:nvPr/>
        </p:nvCxnSpPr>
        <p:spPr>
          <a:xfrm>
            <a:off x="8147717" y="460955"/>
            <a:ext cx="2930515" cy="1329798"/>
          </a:xfrm>
          <a:prstGeom prst="bentConnector3">
            <a:avLst>
              <a:gd name="adj1" fmla="val 86114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nector: Elbow 259">
            <a:extLst>
              <a:ext uri="{FF2B5EF4-FFF2-40B4-BE49-F238E27FC236}">
                <a16:creationId xmlns:a16="http://schemas.microsoft.com/office/drawing/2014/main" id="{A6F8306A-81C0-4582-A441-EB0492B494CC}"/>
              </a:ext>
            </a:extLst>
          </p:cNvPr>
          <p:cNvCxnSpPr>
            <a:cxnSpLocks/>
            <a:stCxn id="238" idx="1"/>
            <a:endCxn id="241" idx="1"/>
          </p:cNvCxnSpPr>
          <p:nvPr/>
        </p:nvCxnSpPr>
        <p:spPr>
          <a:xfrm rot="10800000" flipV="1">
            <a:off x="11078232" y="1790752"/>
            <a:ext cx="12700" cy="793029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Connector: Elbow 263">
            <a:extLst>
              <a:ext uri="{FF2B5EF4-FFF2-40B4-BE49-F238E27FC236}">
                <a16:creationId xmlns:a16="http://schemas.microsoft.com/office/drawing/2014/main" id="{BD6A7FB5-CF4F-4BE6-8F4C-D00008F99E48}"/>
              </a:ext>
            </a:extLst>
          </p:cNvPr>
          <p:cNvCxnSpPr>
            <a:cxnSpLocks/>
            <a:stCxn id="241" idx="1"/>
            <a:endCxn id="244" idx="1"/>
          </p:cNvCxnSpPr>
          <p:nvPr/>
        </p:nvCxnSpPr>
        <p:spPr>
          <a:xfrm rot="10800000" flipV="1">
            <a:off x="11078232" y="2583782"/>
            <a:ext cx="12700" cy="799334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Oval 267">
            <a:extLst>
              <a:ext uri="{FF2B5EF4-FFF2-40B4-BE49-F238E27FC236}">
                <a16:creationId xmlns:a16="http://schemas.microsoft.com/office/drawing/2014/main" id="{FC16A6AF-4A55-4B98-8632-869849A15328}"/>
              </a:ext>
            </a:extLst>
          </p:cNvPr>
          <p:cNvSpPr/>
          <p:nvPr/>
        </p:nvSpPr>
        <p:spPr>
          <a:xfrm>
            <a:off x="10642464" y="254961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0FA2F511-7EA3-44E5-8AF4-04415AA38110}"/>
              </a:ext>
            </a:extLst>
          </p:cNvPr>
          <p:cNvSpPr/>
          <p:nvPr/>
        </p:nvSpPr>
        <p:spPr>
          <a:xfrm>
            <a:off x="10637021" y="175292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0" name="Connector: Elbow 269">
            <a:extLst>
              <a:ext uri="{FF2B5EF4-FFF2-40B4-BE49-F238E27FC236}">
                <a16:creationId xmlns:a16="http://schemas.microsoft.com/office/drawing/2014/main" id="{7B7923E8-3D5D-44D3-92AA-CA6FB9D0302A}"/>
              </a:ext>
            </a:extLst>
          </p:cNvPr>
          <p:cNvCxnSpPr>
            <a:cxnSpLocks/>
            <a:stCxn id="134" idx="0"/>
            <a:endCxn id="185" idx="2"/>
          </p:cNvCxnSpPr>
          <p:nvPr/>
        </p:nvCxnSpPr>
        <p:spPr>
          <a:xfrm rot="5400000" flipH="1" flipV="1">
            <a:off x="6905919" y="1800916"/>
            <a:ext cx="2296504" cy="187092"/>
          </a:xfrm>
          <a:prstGeom prst="bentConnector4">
            <a:avLst>
              <a:gd name="adj1" fmla="val 48824"/>
              <a:gd name="adj2" fmla="val 22218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Oval 272">
            <a:extLst>
              <a:ext uri="{FF2B5EF4-FFF2-40B4-BE49-F238E27FC236}">
                <a16:creationId xmlns:a16="http://schemas.microsoft.com/office/drawing/2014/main" id="{F2CB7FAE-A37A-4071-9532-1CD737C0FFF6}"/>
              </a:ext>
            </a:extLst>
          </p:cNvPr>
          <p:cNvSpPr/>
          <p:nvPr/>
        </p:nvSpPr>
        <p:spPr>
          <a:xfrm>
            <a:off x="7924625" y="2785093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3E8063B0-22F9-4FB6-B2B7-A97678CBBC92}"/>
              </a:ext>
            </a:extLst>
          </p:cNvPr>
          <p:cNvCxnSpPr>
            <a:cxnSpLocks/>
            <a:stCxn id="195" idx="0"/>
            <a:endCxn id="188" idx="2"/>
          </p:cNvCxnSpPr>
          <p:nvPr/>
        </p:nvCxnSpPr>
        <p:spPr>
          <a:xfrm rot="5400000" flipH="1" flipV="1">
            <a:off x="7084637" y="1595042"/>
            <a:ext cx="2056223" cy="69938"/>
          </a:xfrm>
          <a:prstGeom prst="bentConnector4">
            <a:avLst>
              <a:gd name="adj1" fmla="val 29334"/>
              <a:gd name="adj2" fmla="val 614503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451A5545-BEA0-4FAA-9393-DFACB33248EB}"/>
              </a:ext>
            </a:extLst>
          </p:cNvPr>
          <p:cNvCxnSpPr>
            <a:cxnSpLocks/>
            <a:stCxn id="190" idx="1"/>
            <a:endCxn id="186" idx="2"/>
          </p:cNvCxnSpPr>
          <p:nvPr/>
        </p:nvCxnSpPr>
        <p:spPr>
          <a:xfrm rot="10800000" flipH="1">
            <a:off x="7879595" y="884917"/>
            <a:ext cx="268122" cy="357739"/>
          </a:xfrm>
          <a:prstGeom prst="bentConnector5">
            <a:avLst>
              <a:gd name="adj1" fmla="val -85260"/>
              <a:gd name="adj2" fmla="val 55357"/>
              <a:gd name="adj3" fmla="val 150524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Connector: Elbow 283">
            <a:extLst>
              <a:ext uri="{FF2B5EF4-FFF2-40B4-BE49-F238E27FC236}">
                <a16:creationId xmlns:a16="http://schemas.microsoft.com/office/drawing/2014/main" id="{1D4C60F0-EB94-424A-9F40-292588BCE280}"/>
              </a:ext>
            </a:extLst>
          </p:cNvPr>
          <p:cNvCxnSpPr>
            <a:cxnSpLocks/>
            <a:stCxn id="190" idx="3"/>
          </p:cNvCxnSpPr>
          <p:nvPr/>
        </p:nvCxnSpPr>
        <p:spPr>
          <a:xfrm flipV="1">
            <a:off x="8311595" y="1239266"/>
            <a:ext cx="76199" cy="338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Oval 286">
            <a:extLst>
              <a:ext uri="{FF2B5EF4-FFF2-40B4-BE49-F238E27FC236}">
                <a16:creationId xmlns:a16="http://schemas.microsoft.com/office/drawing/2014/main" id="{6A24DD39-9F89-43FD-A4C6-6A00CAF5E3B6}"/>
              </a:ext>
            </a:extLst>
          </p:cNvPr>
          <p:cNvSpPr/>
          <p:nvPr/>
        </p:nvSpPr>
        <p:spPr>
          <a:xfrm>
            <a:off x="8339825" y="120571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1B4A8591-F03D-4C9D-A634-46C5318F8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33" y="-1000403"/>
            <a:ext cx="4406267" cy="223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BDE5B3-5782-43F5-8AF3-E981DE193307}"/>
              </a:ext>
            </a:extLst>
          </p:cNvPr>
          <p:cNvCxnSpPr/>
          <p:nvPr/>
        </p:nvCxnSpPr>
        <p:spPr>
          <a:xfrm flipV="1">
            <a:off x="8173809" y="5924105"/>
            <a:ext cx="137786" cy="608359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D211D3B-2D2E-4980-84BF-C0824DECE32C}"/>
              </a:ext>
            </a:extLst>
          </p:cNvPr>
          <p:cNvCxnSpPr>
            <a:cxnSpLocks/>
          </p:cNvCxnSpPr>
          <p:nvPr/>
        </p:nvCxnSpPr>
        <p:spPr>
          <a:xfrm flipH="1" flipV="1">
            <a:off x="8238128" y="1741777"/>
            <a:ext cx="8360" cy="1100921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1DE61FA6-AD14-4647-97A3-F1453C28A723}"/>
              </a:ext>
            </a:extLst>
          </p:cNvPr>
          <p:cNvCxnSpPr>
            <a:cxnSpLocks/>
          </p:cNvCxnSpPr>
          <p:nvPr/>
        </p:nvCxnSpPr>
        <p:spPr>
          <a:xfrm flipV="1">
            <a:off x="4963895" y="2899236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755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FAA62C8-67D6-2C03-4F45-5C825BF02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88D73887-34D2-7F16-D513-AB9D4CF2A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63900" y="-1460500"/>
            <a:ext cx="4632960" cy="463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6483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1535A-AA57-99A9-05DF-A7DF82E44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AutoShape 2" descr="Dfplayer Mini - Microsd Mp3 Musik Player Audio Voice Modul">
            <a:extLst>
              <a:ext uri="{FF2B5EF4-FFF2-40B4-BE49-F238E27FC236}">
                <a16:creationId xmlns:a16="http://schemas.microsoft.com/office/drawing/2014/main" id="{D83DBDCB-5280-22DF-0F02-AE78E31795AE}"/>
              </a:ext>
            </a:extLst>
          </p:cNvPr>
          <p:cNvSpPr>
            <a:spLocks noGrp="1" noChangeAspect="1" noChangeArrowheads="1"/>
          </p:cNvSpPr>
          <p:nvPr>
            <p:ph type="body" sz="quarter" idx="13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14340" name="Picture 4" descr="DFPlayer Mini Mp3 Player - DFRobot Wiki">
            <a:extLst>
              <a:ext uri="{FF2B5EF4-FFF2-40B4-BE49-F238E27FC236}">
                <a16:creationId xmlns:a16="http://schemas.microsoft.com/office/drawing/2014/main" id="{C2194B05-38A9-5FA5-7D21-D94936462D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238" y="1624013"/>
            <a:ext cx="6105525" cy="3609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057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0D2FE-8938-68E8-1A48-105E6E999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6020C9-530D-78E4-B534-DDFD89F41431}"/>
              </a:ext>
            </a:extLst>
          </p:cNvPr>
          <p:cNvSpPr/>
          <p:nvPr/>
        </p:nvSpPr>
        <p:spPr>
          <a:xfrm>
            <a:off x="5936776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mall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D4A3D5-7DF1-076C-023A-5D271E3FDFC3}"/>
              </a:ext>
            </a:extLst>
          </p:cNvPr>
          <p:cNvSpPr/>
          <p:nvPr/>
        </p:nvSpPr>
        <p:spPr>
          <a:xfrm>
            <a:off x="8695898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>
                <a:solidFill>
                  <a:schemeClr val="tx1"/>
                </a:solidFill>
              </a:rPr>
              <a:t>Locomotiv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98195A-9490-0083-989A-336720EDAB42}"/>
              </a:ext>
            </a:extLst>
          </p:cNvPr>
          <p:cNvSpPr/>
          <p:nvPr/>
        </p:nvSpPr>
        <p:spPr>
          <a:xfrm>
            <a:off x="3177654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Christma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047D76-DF4B-121A-CA47-F2083F64AFCF}"/>
              </a:ext>
            </a:extLst>
          </p:cNvPr>
          <p:cNvSpPr/>
          <p:nvPr/>
        </p:nvSpPr>
        <p:spPr>
          <a:xfrm>
            <a:off x="8695898" y="4817660"/>
            <a:ext cx="1116842" cy="3684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026AB8-4BE3-B296-51AF-C797B417ABFA}"/>
              </a:ext>
            </a:extLst>
          </p:cNvPr>
          <p:cNvSpPr/>
          <p:nvPr/>
        </p:nvSpPr>
        <p:spPr>
          <a:xfrm>
            <a:off x="6638355" y="3998793"/>
            <a:ext cx="1116842" cy="52088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ontroll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225E0A-C27E-1F27-B0B5-7804A1D66727}"/>
              </a:ext>
            </a:extLst>
          </p:cNvPr>
          <p:cNvSpPr/>
          <p:nvPr/>
        </p:nvSpPr>
        <p:spPr>
          <a:xfrm>
            <a:off x="1239672" y="411828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owerban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3D738E-6EEF-A8D0-A5DB-2D1EA4FB1E61}"/>
              </a:ext>
            </a:extLst>
          </p:cNvPr>
          <p:cNvSpPr/>
          <p:nvPr/>
        </p:nvSpPr>
        <p:spPr>
          <a:xfrm>
            <a:off x="10338178" y="3317844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L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3F3BB4-A985-93EE-F850-90CEBCBD37FB}"/>
              </a:ext>
            </a:extLst>
          </p:cNvPr>
          <p:cNvSpPr/>
          <p:nvPr/>
        </p:nvSpPr>
        <p:spPr>
          <a:xfrm>
            <a:off x="10338178" y="3998793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/>
              <a:t>Distance</a:t>
            </a:r>
            <a:r>
              <a:rPr lang="de-DE" sz="1400" dirty="0"/>
              <a:t> Sens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89C34F-8234-2730-85B9-B369ADD901B0}"/>
              </a:ext>
            </a:extLst>
          </p:cNvPr>
          <p:cNvSpPr/>
          <p:nvPr/>
        </p:nvSpPr>
        <p:spPr>
          <a:xfrm>
            <a:off x="7898355" y="132116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FC1810-B819-C43C-27AD-02046030CF0A}"/>
              </a:ext>
            </a:extLst>
          </p:cNvPr>
          <p:cNvSpPr/>
          <p:nvPr/>
        </p:nvSpPr>
        <p:spPr>
          <a:xfrm>
            <a:off x="7898355" y="1944180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M1, M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7747A6-FA72-536B-C4EB-62C956B4D9FD}"/>
              </a:ext>
            </a:extLst>
          </p:cNvPr>
          <p:cNvSpPr/>
          <p:nvPr/>
        </p:nvSpPr>
        <p:spPr>
          <a:xfrm>
            <a:off x="7898355" y="254339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L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74532E-4942-F74C-4D7A-D7B927D14F66}"/>
              </a:ext>
            </a:extLst>
          </p:cNvPr>
          <p:cNvSpPr/>
          <p:nvPr/>
        </p:nvSpPr>
        <p:spPr>
          <a:xfrm>
            <a:off x="6638355" y="4603661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cann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BE7C254-7A55-CBBB-A6F7-B802D2763D02}"/>
              </a:ext>
            </a:extLst>
          </p:cNvPr>
          <p:cNvSpPr/>
          <p:nvPr/>
        </p:nvSpPr>
        <p:spPr>
          <a:xfrm>
            <a:off x="7898355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386728-5A44-5D8F-AE60-4B6FBB516C8A}"/>
              </a:ext>
            </a:extLst>
          </p:cNvPr>
          <p:cNvSpPr/>
          <p:nvPr/>
        </p:nvSpPr>
        <p:spPr>
          <a:xfrm>
            <a:off x="7898355" y="71961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0D6BBC-B7CE-B30B-01B5-576139FBF576}"/>
              </a:ext>
            </a:extLst>
          </p:cNvPr>
          <p:cNvSpPr/>
          <p:nvPr/>
        </p:nvSpPr>
        <p:spPr>
          <a:xfrm>
            <a:off x="5186531" y="25474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x L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972261-F9BF-F419-4009-B654AE181899}"/>
              </a:ext>
            </a:extLst>
          </p:cNvPr>
          <p:cNvSpPr/>
          <p:nvPr/>
        </p:nvSpPr>
        <p:spPr>
          <a:xfrm>
            <a:off x="5186531" y="1945145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A17678-CB51-9C1A-ED3C-E4F7CAFE4289}"/>
              </a:ext>
            </a:extLst>
          </p:cNvPr>
          <p:cNvSpPr/>
          <p:nvPr/>
        </p:nvSpPr>
        <p:spPr>
          <a:xfrm>
            <a:off x="5178329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D97EC0-F72C-DF11-78F6-E7C7A3692784}"/>
              </a:ext>
            </a:extLst>
          </p:cNvPr>
          <p:cNvSpPr/>
          <p:nvPr/>
        </p:nvSpPr>
        <p:spPr>
          <a:xfrm>
            <a:off x="6653565" y="3118250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ound Modu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8102C2-7AF5-E4CD-2C77-A199B930DCD7}"/>
              </a:ext>
            </a:extLst>
          </p:cNvPr>
          <p:cNvSpPr/>
          <p:nvPr/>
        </p:nvSpPr>
        <p:spPr>
          <a:xfrm>
            <a:off x="529706" y="3578289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hot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C76664-731A-957C-2A9F-A0E6BE1DFC8E}"/>
              </a:ext>
            </a:extLst>
          </p:cNvPr>
          <p:cNvSpPr/>
          <p:nvPr/>
        </p:nvSpPr>
        <p:spPr>
          <a:xfrm>
            <a:off x="1239672" y="293462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ap Senso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9C037AB-DCE8-6762-A8DF-8EFEA2E25395}"/>
              </a:ext>
            </a:extLst>
          </p:cNvPr>
          <p:cNvSpPr/>
          <p:nvPr/>
        </p:nvSpPr>
        <p:spPr>
          <a:xfrm>
            <a:off x="5186531" y="129309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441125-CA81-38CD-872E-CE7D572AF351}"/>
              </a:ext>
            </a:extLst>
          </p:cNvPr>
          <p:cNvSpPr/>
          <p:nvPr/>
        </p:nvSpPr>
        <p:spPr>
          <a:xfrm>
            <a:off x="5186531" y="71961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9FF17D-E997-B2CD-78F9-95BA61E1B54B}"/>
              </a:ext>
            </a:extLst>
          </p:cNvPr>
          <p:cNvSpPr/>
          <p:nvPr/>
        </p:nvSpPr>
        <p:spPr>
          <a:xfrm>
            <a:off x="2489050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3DA2BC-CBBE-4FAC-C08F-30780ED1EF3F}"/>
              </a:ext>
            </a:extLst>
          </p:cNvPr>
          <p:cNvSpPr/>
          <p:nvPr/>
        </p:nvSpPr>
        <p:spPr>
          <a:xfrm>
            <a:off x="2489050" y="719612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08237C-671E-52D2-E23B-C26BED644CD1}"/>
              </a:ext>
            </a:extLst>
          </p:cNvPr>
          <p:cNvSpPr txBox="1"/>
          <p:nvPr/>
        </p:nvSpPr>
        <p:spPr>
          <a:xfrm>
            <a:off x="9217456" y="1372736"/>
            <a:ext cx="595284" cy="21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 dirty="0">
                <a:solidFill>
                  <a:schemeClr val="bg2"/>
                </a:solidFill>
              </a:rPr>
              <a:t>10 Pi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D3B3F3-6BE6-DF89-3CEE-D33F3F0E8714}"/>
              </a:ext>
            </a:extLst>
          </p:cNvPr>
          <p:cNvSpPr/>
          <p:nvPr/>
        </p:nvSpPr>
        <p:spPr>
          <a:xfrm>
            <a:off x="2489050" y="196820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DD08C22-84C3-04C5-FD1E-A03B8CE106F5}"/>
              </a:ext>
            </a:extLst>
          </p:cNvPr>
          <p:cNvSpPr/>
          <p:nvPr/>
        </p:nvSpPr>
        <p:spPr>
          <a:xfrm>
            <a:off x="2489050" y="1316156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B67DF5E-0653-8CF8-DAE8-49162F2C6535}"/>
              </a:ext>
            </a:extLst>
          </p:cNvPr>
          <p:cNvSpPr/>
          <p:nvPr/>
        </p:nvSpPr>
        <p:spPr>
          <a:xfrm>
            <a:off x="9015197" y="3889329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 Driver</a:t>
            </a:r>
          </a:p>
        </p:txBody>
      </p:sp>
    </p:spTree>
    <p:extLst>
      <p:ext uri="{BB962C8B-B14F-4D97-AF65-F5344CB8AC3E}">
        <p14:creationId xmlns:p14="http://schemas.microsoft.com/office/powerpoint/2010/main" val="373847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61A94-D0C4-95E0-BB23-C6C63F228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 descr="Interfacing DRV8833 Dual Motor Driver Module with Arduino">
            <a:extLst>
              <a:ext uri="{FF2B5EF4-FFF2-40B4-BE49-F238E27FC236}">
                <a16:creationId xmlns:a16="http://schemas.microsoft.com/office/drawing/2014/main" id="{1DB9825E-6EB4-32E4-C0E3-2B8119B5C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548" y="0"/>
            <a:ext cx="4488516" cy="247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75B4025-FFA0-6EF2-744C-4ADBE9327B59}"/>
              </a:ext>
            </a:extLst>
          </p:cNvPr>
          <p:cNvCxnSpPr>
            <a:cxnSpLocks/>
            <a:stCxn id="31" idx="1"/>
            <a:endCxn id="10" idx="1"/>
          </p:cNvCxnSpPr>
          <p:nvPr/>
        </p:nvCxnSpPr>
        <p:spPr>
          <a:xfrm rot="10800000" flipV="1">
            <a:off x="6333564" y="1676942"/>
            <a:ext cx="911758" cy="1630660"/>
          </a:xfrm>
          <a:prstGeom prst="bentConnector3">
            <a:avLst>
              <a:gd name="adj1" fmla="val 177336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85D11754-91B3-9D3C-7C17-2BAC60E20A8D}"/>
              </a:ext>
            </a:extLst>
          </p:cNvPr>
          <p:cNvSpPr/>
          <p:nvPr/>
        </p:nvSpPr>
        <p:spPr>
          <a:xfrm>
            <a:off x="6333565" y="66120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BC5DCA-8FA7-8462-4112-02463770DD85}"/>
              </a:ext>
            </a:extLst>
          </p:cNvPr>
          <p:cNvSpPr/>
          <p:nvPr/>
        </p:nvSpPr>
        <p:spPr>
          <a:xfrm>
            <a:off x="6333564" y="322470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C24E91-089F-4A72-FEC3-C4FAB931FB05}"/>
              </a:ext>
            </a:extLst>
          </p:cNvPr>
          <p:cNvSpPr/>
          <p:nvPr/>
        </p:nvSpPr>
        <p:spPr>
          <a:xfrm>
            <a:off x="6333562" y="342897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394106-2502-3359-CCEF-79736B3313BE}"/>
              </a:ext>
            </a:extLst>
          </p:cNvPr>
          <p:cNvSpPr/>
          <p:nvPr/>
        </p:nvSpPr>
        <p:spPr>
          <a:xfrm>
            <a:off x="6333562" y="3631006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EEF728-2103-4D65-344D-D82313BEFB4A}"/>
              </a:ext>
            </a:extLst>
          </p:cNvPr>
          <p:cNvSpPr/>
          <p:nvPr/>
        </p:nvSpPr>
        <p:spPr>
          <a:xfrm>
            <a:off x="6333561" y="6481261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5CB4DB1D-0C14-40FD-10B0-FBA3FF6007E4}"/>
              </a:ext>
            </a:extLst>
          </p:cNvPr>
          <p:cNvCxnSpPr>
            <a:cxnSpLocks/>
            <a:stCxn id="26" idx="1"/>
            <a:endCxn id="11" idx="1"/>
          </p:cNvCxnSpPr>
          <p:nvPr/>
        </p:nvCxnSpPr>
        <p:spPr>
          <a:xfrm rot="10800000" flipV="1">
            <a:off x="6333563" y="1503341"/>
            <a:ext cx="910201" cy="2008526"/>
          </a:xfrm>
          <a:prstGeom prst="bentConnector3">
            <a:avLst>
              <a:gd name="adj1" fmla="val 146339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F55655D7-3BD5-FC8B-F697-B5D72EDF39A1}"/>
              </a:ext>
            </a:extLst>
          </p:cNvPr>
          <p:cNvSpPr/>
          <p:nvPr/>
        </p:nvSpPr>
        <p:spPr>
          <a:xfrm>
            <a:off x="7243763" y="1420444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4F28DA06-0747-86CC-EB5D-2BB72EBD29C9}"/>
              </a:ext>
            </a:extLst>
          </p:cNvPr>
          <p:cNvCxnSpPr>
            <a:cxnSpLocks/>
            <a:stCxn id="9" idx="1"/>
            <a:endCxn id="12" idx="1"/>
          </p:cNvCxnSpPr>
          <p:nvPr/>
        </p:nvCxnSpPr>
        <p:spPr>
          <a:xfrm rot="10800000" flipV="1">
            <a:off x="6333563" y="744097"/>
            <a:ext cx="3" cy="2969806"/>
          </a:xfrm>
          <a:prstGeom prst="bentConnector3">
            <a:avLst>
              <a:gd name="adj1" fmla="val 7620100000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24B0E6E-9A24-64FA-AD65-6DA3160E554D}"/>
              </a:ext>
            </a:extLst>
          </p:cNvPr>
          <p:cNvSpPr/>
          <p:nvPr/>
        </p:nvSpPr>
        <p:spPr>
          <a:xfrm>
            <a:off x="7245322" y="159404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2A2E89E-801C-B490-C9B7-84029D029029}"/>
              </a:ext>
            </a:extLst>
          </p:cNvPr>
          <p:cNvSpPr txBox="1"/>
          <p:nvPr/>
        </p:nvSpPr>
        <p:spPr>
          <a:xfrm>
            <a:off x="2804154" y="2630149"/>
            <a:ext cx="25156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b="1" dirty="0">
                <a:solidFill>
                  <a:srgbClr val="FF0000"/>
                </a:solidFill>
              </a:rPr>
              <a:t>34-29 </a:t>
            </a:r>
            <a:r>
              <a:rPr lang="de-DE" sz="1400" b="1" dirty="0" err="1">
                <a:solidFill>
                  <a:srgbClr val="FF0000"/>
                </a:solidFill>
              </a:rPr>
              <a:t>are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input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only</a:t>
            </a:r>
            <a:endParaRPr lang="de-DE" sz="1400" b="1" dirty="0">
              <a:solidFill>
                <a:srgbClr val="FF0000"/>
              </a:solidFill>
            </a:endParaRPr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79467DB3-77F4-0810-0140-3D99B8AEA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5059" y="1918597"/>
            <a:ext cx="8801704" cy="5444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27694EA-98CB-C5F1-F8AC-1BA737957912}"/>
              </a:ext>
            </a:extLst>
          </p:cNvPr>
          <p:cNvSpPr/>
          <p:nvPr/>
        </p:nvSpPr>
        <p:spPr>
          <a:xfrm>
            <a:off x="3709031" y="5821185"/>
            <a:ext cx="2243467" cy="5823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485FF2-E1CC-A1C1-2E5B-3E31A1B35A08}"/>
              </a:ext>
            </a:extLst>
          </p:cNvPr>
          <p:cNvSpPr/>
          <p:nvPr/>
        </p:nvSpPr>
        <p:spPr>
          <a:xfrm>
            <a:off x="3852533" y="5058298"/>
            <a:ext cx="2243467" cy="2154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B90BA0-737B-4253-B478-773C7D478852}"/>
              </a:ext>
            </a:extLst>
          </p:cNvPr>
          <p:cNvSpPr/>
          <p:nvPr/>
        </p:nvSpPr>
        <p:spPr>
          <a:xfrm>
            <a:off x="1818523" y="4584463"/>
            <a:ext cx="2243467" cy="4832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WM at </a:t>
            </a:r>
            <a:r>
              <a:rPr lang="de-DE" sz="1400" dirty="0" err="1"/>
              <a:t>boot</a:t>
            </a:r>
            <a:endParaRPr lang="de-DE" sz="1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961B30-9EE4-EB29-03F3-E0B3CCF8309F}"/>
              </a:ext>
            </a:extLst>
          </p:cNvPr>
          <p:cNvSpPr/>
          <p:nvPr/>
        </p:nvSpPr>
        <p:spPr>
          <a:xfrm>
            <a:off x="1818523" y="2756874"/>
            <a:ext cx="2243467" cy="9356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In </a:t>
            </a:r>
            <a:r>
              <a:rPr lang="de-DE" sz="1400" dirty="0" err="1"/>
              <a:t>Only</a:t>
            </a:r>
            <a:endParaRPr lang="de-DE" sz="1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D5B64D-C4A0-14FB-2052-42A4C446EBB7}"/>
              </a:ext>
            </a:extLst>
          </p:cNvPr>
          <p:cNvSpPr/>
          <p:nvPr/>
        </p:nvSpPr>
        <p:spPr>
          <a:xfrm>
            <a:off x="1757561" y="3648802"/>
            <a:ext cx="2243467" cy="93566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34370329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8B91090-F730-6429-AC77-6AEE19671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67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E7563F9F-F97A-05A2-DBCC-D168B7B3D6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F7A4AF17-865B-D4DF-3D3E-D5BAD7B799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BAC3796-7EA7-A720-334C-417FCEE30446}"/>
              </a:ext>
            </a:extLst>
          </p:cNvPr>
          <p:cNvCxnSpPr/>
          <p:nvPr/>
        </p:nvCxnSpPr>
        <p:spPr>
          <a:xfrm>
            <a:off x="3324225" y="1514475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73B31F-62DA-FBF9-5798-5357B0103687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72E89F1-DE3E-DF08-C531-06E33C3A207B}"/>
              </a:ext>
            </a:extLst>
          </p:cNvPr>
          <p:cNvSpPr/>
          <p:nvPr/>
        </p:nvSpPr>
        <p:spPr>
          <a:xfrm>
            <a:off x="3345531" y="2155825"/>
            <a:ext cx="819244" cy="306705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8E1B3BC-B84A-487C-2416-D2E1290FF478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7AA7B9-2305-4DB6-1AD0-362FB942274A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5DCE3E-B512-0911-D64E-DC963A4F7C8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3152CC-AC8E-8578-E0A3-EBBD23C4EC1C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65DED4A-26DB-4CA2-8A00-0B44A0975413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D5CF2C5-A8A7-6044-330A-4D952ECE69C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75D0647-E9F8-6A05-52E5-6F4C181F9F2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436D166-A256-9792-0029-DB2C8D8039BF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91E7A4A-0C47-3F95-D04F-8306EC8D95E3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E4657F3-59ED-710B-6C65-26C6B4123D9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D3739A8-6735-04AB-D5BE-38E29C9260CE}"/>
              </a:ext>
            </a:extLst>
          </p:cNvPr>
          <p:cNvGrpSpPr/>
          <p:nvPr/>
        </p:nvGrpSpPr>
        <p:grpSpPr>
          <a:xfrm>
            <a:off x="3345531" y="2202616"/>
            <a:ext cx="763723" cy="180754"/>
            <a:chOff x="3563025" y="2201148"/>
            <a:chExt cx="763723" cy="18075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A4E6725-765B-96E7-4425-6C7F25A3904E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6190EE-E9D9-F693-BBFD-4E2C85BAEB7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72060B-362D-6F44-5ED9-1F043BA8AC99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4CC3569-7952-7F68-EA3E-5A844134158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9F1B54-0AAE-C650-09EF-D196DD25DE2A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3B2CF6D-B9C3-AF21-65B8-7EDEE204573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AFA8B74-FF28-414D-E05D-57AFA96CF8EB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1BF3C83-FF82-878B-211F-88DCFFF48B1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FF14F6D2-3211-2FF3-805B-02216D1FF3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C41DDC22-07A0-A55C-BE12-E26E3AADCA32}"/>
              </a:ext>
            </a:extLst>
          </p:cNvPr>
          <p:cNvSpPr txBox="1"/>
          <p:nvPr/>
        </p:nvSpPr>
        <p:spPr>
          <a:xfrm rot="16200000">
            <a:off x="3595103" y="2129636"/>
            <a:ext cx="307976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GND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VCC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8192C7-671A-12AB-97BE-1AFA51162F32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371556F-5419-FF68-A148-F1684B6D8705}"/>
              </a:ext>
            </a:extLst>
          </p:cNvPr>
          <p:cNvGrpSpPr/>
          <p:nvPr/>
        </p:nvGrpSpPr>
        <p:grpSpPr>
          <a:xfrm rot="10800000">
            <a:off x="4325653" y="3785642"/>
            <a:ext cx="568511" cy="180754"/>
            <a:chOff x="3563025" y="2201148"/>
            <a:chExt cx="568511" cy="18075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19256F8-97A7-20B9-D492-2CDDA5D69A04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43E542C-9184-D64C-5B3D-DA4BF39AB90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B2DFB6-C3CD-BDE7-70C3-62CE3D59F581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7AE47DF-F4DA-1800-7386-DBC762AE23DA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FAC5F3D-2D0B-47B9-D832-D6B1B5E1E8D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D3D8E47-F322-57C3-2543-E804C4E73BB7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D36A598-7C77-9AD7-92DE-13E52B5C691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4EFD9F7-BF2C-479C-AE62-17DC73E93C75}"/>
              </a:ext>
            </a:extLst>
          </p:cNvPr>
          <p:cNvGrpSpPr/>
          <p:nvPr/>
        </p:nvGrpSpPr>
        <p:grpSpPr>
          <a:xfrm>
            <a:off x="4324417" y="3000964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0E65A85-A9E4-1629-D8A4-235BFC1E987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C5D3898-5AC5-9D50-DE41-F7EBA5BB6EE0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E67AEB6-DAD0-46EB-016C-953B8A4C4442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2BA937B-1859-3EF0-C301-7E57132857F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68A34C8-6AEA-2048-F9A3-DE7E9EFB7C1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FD942769-47C7-19B4-3C8C-1B211460B8F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CEFC531A-A8A2-DB67-5637-CBACD444207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59B63754-D51B-9A09-F2A7-9FEF0F608E70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5035C39-CED8-83C8-A3DA-DDF95F08C8CE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7367BCA0-D8D4-1CA0-B396-21407806CA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B7F0CB44-35CE-366A-D4CB-5E5575129DD6}"/>
              </a:ext>
            </a:extLst>
          </p:cNvPr>
          <p:cNvSpPr txBox="1"/>
          <p:nvPr/>
        </p:nvSpPr>
        <p:spPr>
          <a:xfrm rot="16200000">
            <a:off x="4416119" y="2888583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912275B6-3E85-59C4-6095-E01AEF8FB4A0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7CE7E800-5203-ACE0-60EB-A220F1B5BBBA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D9241F75-2E76-DAF3-0F9D-7A754CC2A1C3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C93EB9E4-AD2A-954D-E2FA-982D6AD556D3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D684337F-7D8D-4C78-EA91-DB0F695473FD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CE97F6DB-2568-671E-220A-3194ED9E12A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0412251-57CF-AB45-320B-4561D3549322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54064BC7-45BC-E569-8C2D-20B1C21417AD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0BE0DF51-3C5B-F531-E249-E82C2887A379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D878DC87-C9AF-03FF-553E-91861B159672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3272FDCE-A722-05C0-4DF7-0F4E0834DE0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E02EFDC-9968-8FD4-5E05-EF9940A7225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73577D34-4178-99E9-19E2-462EFF30642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84614F9C-D1D7-299B-AF0B-66D1E715D5D5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CCC5E001-C494-4746-89D6-C431169BAD56}"/>
              </a:ext>
            </a:extLst>
          </p:cNvPr>
          <p:cNvCxnSpPr>
            <a:cxnSpLocks/>
          </p:cNvCxnSpPr>
          <p:nvPr/>
        </p:nvCxnSpPr>
        <p:spPr>
          <a:xfrm flipH="1">
            <a:off x="4991107" y="2876634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9BB1AFB2-EAD4-3E56-776C-AF8FC63B78A4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56807906-60D6-3C19-512F-540D1F2B16B5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E58F6E4C-3247-0908-EC95-591274968F6B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8F9347A-0F34-638C-982B-88A8C8C4D9B7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D5C2618F-A279-A777-FF35-ACB8596E995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065EFA8F-9EBF-59BA-0019-501C71F12164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E1238188-43A5-A98D-039C-777279018ECF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0C957B10-D175-686E-4E9E-9C24D733B1F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96" name="Straight Connector 2095">
            <a:extLst>
              <a:ext uri="{FF2B5EF4-FFF2-40B4-BE49-F238E27FC236}">
                <a16:creationId xmlns:a16="http://schemas.microsoft.com/office/drawing/2014/main" id="{AEE5C106-EF17-5439-93CC-B235CE76C64C}"/>
              </a:ext>
            </a:extLst>
          </p:cNvPr>
          <p:cNvCxnSpPr>
            <a:cxnSpLocks/>
          </p:cNvCxnSpPr>
          <p:nvPr/>
        </p:nvCxnSpPr>
        <p:spPr>
          <a:xfrm flipH="1" flipV="1">
            <a:off x="4060697" y="2883227"/>
            <a:ext cx="787254" cy="599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8" name="Straight Connector 2097">
            <a:extLst>
              <a:ext uri="{FF2B5EF4-FFF2-40B4-BE49-F238E27FC236}">
                <a16:creationId xmlns:a16="http://schemas.microsoft.com/office/drawing/2014/main" id="{951CC4E8-28AC-6564-70AA-2A6FFE572CCD}"/>
              </a:ext>
            </a:extLst>
          </p:cNvPr>
          <p:cNvCxnSpPr>
            <a:cxnSpLocks/>
          </p:cNvCxnSpPr>
          <p:nvPr/>
        </p:nvCxnSpPr>
        <p:spPr>
          <a:xfrm flipH="1" flipV="1">
            <a:off x="3852705" y="2683527"/>
            <a:ext cx="802832" cy="14749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4" name="Straight Connector 2103">
            <a:extLst>
              <a:ext uri="{FF2B5EF4-FFF2-40B4-BE49-F238E27FC236}">
                <a16:creationId xmlns:a16="http://schemas.microsoft.com/office/drawing/2014/main" id="{859F8D17-A187-165D-5B1C-469E195C8D6D}"/>
              </a:ext>
            </a:extLst>
          </p:cNvPr>
          <p:cNvCxnSpPr>
            <a:cxnSpLocks/>
          </p:cNvCxnSpPr>
          <p:nvPr/>
        </p:nvCxnSpPr>
        <p:spPr>
          <a:xfrm>
            <a:off x="4428052" y="4465078"/>
            <a:ext cx="76365" cy="76484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6" name="Straight Connector 2105">
            <a:extLst>
              <a:ext uri="{FF2B5EF4-FFF2-40B4-BE49-F238E27FC236}">
                <a16:creationId xmlns:a16="http://schemas.microsoft.com/office/drawing/2014/main" id="{72608580-DF29-74D5-AEA1-D0D964E7D91A}"/>
              </a:ext>
            </a:extLst>
          </p:cNvPr>
          <p:cNvCxnSpPr>
            <a:cxnSpLocks/>
          </p:cNvCxnSpPr>
          <p:nvPr/>
        </p:nvCxnSpPr>
        <p:spPr>
          <a:xfrm>
            <a:off x="3662042" y="3055718"/>
            <a:ext cx="68402" cy="217420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9" name="Straight Connector 2108">
            <a:extLst>
              <a:ext uri="{FF2B5EF4-FFF2-40B4-BE49-F238E27FC236}">
                <a16:creationId xmlns:a16="http://schemas.microsoft.com/office/drawing/2014/main" id="{E9DFAEA0-7BD0-4968-5230-59C137E03ED9}"/>
              </a:ext>
            </a:extLst>
          </p:cNvPr>
          <p:cNvCxnSpPr>
            <a:cxnSpLocks/>
          </p:cNvCxnSpPr>
          <p:nvPr/>
        </p:nvCxnSpPr>
        <p:spPr>
          <a:xfrm>
            <a:off x="3456630" y="3090964"/>
            <a:ext cx="55352" cy="194593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C8B0D7CE-FB95-5416-F77A-574A2D8AB288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55C15780-C646-E753-8728-8A910A584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7521D3-B567-17A8-AE58-89A84733E9D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A0D9FE08-638E-A84C-DEC2-1F4F7D3A8AA8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A7208FF8-25CE-FF95-7FD2-60F8B555F344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3339692A-79C7-FA70-10D4-6E689FB73FD3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9E243B49-B5B8-3D53-9391-7E25DFFF5FC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6800161B-3C29-D2CC-C652-996A12AF1A8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FD4FAF56-12B6-2C0A-3B3A-D3B2EC48CA9C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B8D9E695-2912-13E8-7889-3406CD5E2BA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95633BF5-1D02-D96E-757E-450D16056520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EE8D1037-4BBA-FFD9-A61C-220E7776332B}"/>
              </a:ext>
            </a:extLst>
          </p:cNvPr>
          <p:cNvCxnSpPr>
            <a:cxnSpLocks/>
          </p:cNvCxnSpPr>
          <p:nvPr/>
        </p:nvCxnSpPr>
        <p:spPr>
          <a:xfrm flipH="1" flipV="1">
            <a:off x="5209226" y="3689350"/>
            <a:ext cx="1413831" cy="913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0" name="Straight Connector 2129">
            <a:extLst>
              <a:ext uri="{FF2B5EF4-FFF2-40B4-BE49-F238E27FC236}">
                <a16:creationId xmlns:a16="http://schemas.microsoft.com/office/drawing/2014/main" id="{46F51143-0D3C-3104-FF33-272F9FD37C35}"/>
              </a:ext>
            </a:extLst>
          </p:cNvPr>
          <p:cNvCxnSpPr>
            <a:cxnSpLocks/>
          </p:cNvCxnSpPr>
          <p:nvPr/>
        </p:nvCxnSpPr>
        <p:spPr>
          <a:xfrm flipH="1">
            <a:off x="4714499" y="4448665"/>
            <a:ext cx="88429" cy="62069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B7FFDCBA-1BE4-3E25-C06A-B234B86A57C5}"/>
              </a:ext>
            </a:extLst>
          </p:cNvPr>
          <p:cNvCxnSpPr>
            <a:cxnSpLocks/>
          </p:cNvCxnSpPr>
          <p:nvPr/>
        </p:nvCxnSpPr>
        <p:spPr>
          <a:xfrm>
            <a:off x="4991107" y="3871647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38" name="Group 2137">
            <a:extLst>
              <a:ext uri="{FF2B5EF4-FFF2-40B4-BE49-F238E27FC236}">
                <a16:creationId xmlns:a16="http://schemas.microsoft.com/office/drawing/2014/main" id="{A713250C-EB1B-EB43-71CB-85151AC58E41}"/>
              </a:ext>
            </a:extLst>
          </p:cNvPr>
          <p:cNvGrpSpPr/>
          <p:nvPr/>
        </p:nvGrpSpPr>
        <p:grpSpPr>
          <a:xfrm>
            <a:off x="4713884" y="4157288"/>
            <a:ext cx="568511" cy="180754"/>
            <a:chOff x="3563025" y="2201148"/>
            <a:chExt cx="568511" cy="180754"/>
          </a:xfrm>
        </p:grpSpPr>
        <p:sp>
          <p:nvSpPr>
            <p:cNvPr id="2139" name="Rectangle 2138">
              <a:extLst>
                <a:ext uri="{FF2B5EF4-FFF2-40B4-BE49-F238E27FC236}">
                  <a16:creationId xmlns:a16="http://schemas.microsoft.com/office/drawing/2014/main" id="{2AD9E10B-DA0C-EECD-E13B-C39AF5912B3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0" name="Rectangle 2139">
              <a:extLst>
                <a:ext uri="{FF2B5EF4-FFF2-40B4-BE49-F238E27FC236}">
                  <a16:creationId xmlns:a16="http://schemas.microsoft.com/office/drawing/2014/main" id="{65CB9C60-8AE0-851B-702B-5FE829EEEFC4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1" name="Rectangle 2140">
              <a:extLst>
                <a:ext uri="{FF2B5EF4-FFF2-40B4-BE49-F238E27FC236}">
                  <a16:creationId xmlns:a16="http://schemas.microsoft.com/office/drawing/2014/main" id="{F6601568-687E-8C3F-670F-02CED37F3ED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42" name="Group 2141">
              <a:extLst>
                <a:ext uri="{FF2B5EF4-FFF2-40B4-BE49-F238E27FC236}">
                  <a16:creationId xmlns:a16="http://schemas.microsoft.com/office/drawing/2014/main" id="{3EE5C3A6-BEC7-C4CC-00B0-5FF83873F80F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2143" name="Rectangle 2142">
                <a:extLst>
                  <a:ext uri="{FF2B5EF4-FFF2-40B4-BE49-F238E27FC236}">
                    <a16:creationId xmlns:a16="http://schemas.microsoft.com/office/drawing/2014/main" id="{8B71310B-3377-CC20-64D0-E1E5BF7B19FC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4" name="Rectangle 2143">
                <a:extLst>
                  <a:ext uri="{FF2B5EF4-FFF2-40B4-BE49-F238E27FC236}">
                    <a16:creationId xmlns:a16="http://schemas.microsoft.com/office/drawing/2014/main" id="{7879D1F5-09B0-992C-D234-0EC54A6D34F6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5" name="Rectangle 2144">
                <a:extLst>
                  <a:ext uri="{FF2B5EF4-FFF2-40B4-BE49-F238E27FC236}">
                    <a16:creationId xmlns:a16="http://schemas.microsoft.com/office/drawing/2014/main" id="{B31813D3-CD97-7928-5678-14A8AF6820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5834252-5EC0-8F8C-57F0-74CEFBCE5C75}"/>
              </a:ext>
            </a:extLst>
          </p:cNvPr>
          <p:cNvCxnSpPr>
            <a:cxnSpLocks/>
          </p:cNvCxnSpPr>
          <p:nvPr/>
        </p:nvCxnSpPr>
        <p:spPr>
          <a:xfrm flipH="1">
            <a:off x="1700643" y="4063930"/>
            <a:ext cx="5105907" cy="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D22C06A-7224-CD9C-9EE3-4F59CE27D349}"/>
              </a:ext>
            </a:extLst>
          </p:cNvPr>
          <p:cNvSpPr txBox="1"/>
          <p:nvPr/>
        </p:nvSpPr>
        <p:spPr>
          <a:xfrm>
            <a:off x="1099544" y="39405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L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D6BFA15-8565-B90E-E8A7-96408EC2DF2D}"/>
              </a:ext>
            </a:extLst>
          </p:cNvPr>
          <p:cNvSpPr txBox="1"/>
          <p:nvPr/>
        </p:nvSpPr>
        <p:spPr>
          <a:xfrm>
            <a:off x="1073489" y="34473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POTI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94B7745-774B-FECF-821A-D6F2BFC145B2}"/>
              </a:ext>
            </a:extLst>
          </p:cNvPr>
          <p:cNvCxnSpPr>
            <a:cxnSpLocks/>
          </p:cNvCxnSpPr>
          <p:nvPr/>
        </p:nvCxnSpPr>
        <p:spPr>
          <a:xfrm flipH="1">
            <a:off x="1683827" y="3535690"/>
            <a:ext cx="5369324" cy="19371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54BB559-959D-A3B6-8666-9A8E8A5C9B6F}"/>
              </a:ext>
            </a:extLst>
          </p:cNvPr>
          <p:cNvCxnSpPr>
            <a:cxnSpLocks/>
          </p:cNvCxnSpPr>
          <p:nvPr/>
        </p:nvCxnSpPr>
        <p:spPr>
          <a:xfrm flipH="1" flipV="1">
            <a:off x="7057349" y="3509160"/>
            <a:ext cx="0" cy="25200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595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47CA5-3357-0D28-0450-D780002AF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91EEF778-90D5-E970-8791-694965EC33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36FFEB34-A7C1-74EA-4442-063B1C7C71FD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03288301-6BCB-D1A0-E764-35DF29FE4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E26658E1-1E57-AB82-6531-3229A950DD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CF47424-1CEE-A9E0-BB7C-5108034C1B3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70C997-A81B-BDC1-16B5-935106AFD30A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E343CC-9836-C7A0-3743-B63F9EAFBAF7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123FD9-5034-7B92-361D-83B43324981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F3B13E8-83A6-0039-A831-95437043B4A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56BDDC3-85DD-D2E2-F8BB-7330E5F780BE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739BC9-B82B-4CFB-EBF2-353F9753717C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16E9D91-864C-710C-4C62-3D7DD2927A99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19CCBCB-206D-9E5B-ABD2-7899E0AC662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17313D07-FBD5-B100-C6CA-5249F18D19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99B7A7B-7E83-989E-4B15-50517C1D4176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8DBA948-F007-6020-FC38-82B254588147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D9815B8-ADC3-39E7-2771-6BCFA2030DE1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F6E775D-361C-0ECE-9ADA-6A90819F6D43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0D5AE2-59E0-3A82-5B29-C51F8BD76A95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0FAC579-CFAD-6BCC-78BC-61BCC0ECBFA6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10EE918-C4CC-EBD3-FD0E-BA4EFC149057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C3619EE-291F-4488-E5D5-9DEF548DDB06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C418F74-FBD2-5861-6E7B-EEC57E42C4DD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FEC31B4B-BF00-BA6D-3FC5-BB510AA05A67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6D87E4E2-8566-CA4B-A0C1-DC90AB1225A1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3C56AFCB-7D1E-0377-7808-308B9365DE22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D120291-501E-C5A7-6FA2-8B28F09B212D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5D7F2F3-E7C5-9474-750B-0C23B3E684BA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67C82BF-E058-9AA7-15C5-6456117A40CD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1F88913-2D9E-1EE6-AB20-026AD252A2CC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97D9C91-E8DE-E213-8F26-B94BA249A7EA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71F7781-1F69-B111-5557-9BF33E917816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7B3FD57-502A-FEA7-2844-784497AF0E54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6EAF63D-5B69-C62C-0F56-C57B5BA514DC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817AAB8-EF1D-1644-DAD7-A87E1631AB2B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97D748E-6658-D605-7E9C-EDD5B740FA00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4E48C1E-7865-6009-D881-B493AEE625AA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86800DC1-CFE1-94D2-EF66-E450F74D0B1E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A68A9239-7BD4-8B27-217E-534E68C8CF4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AFC86A54-E73F-E721-F435-8A7AD1A0C003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F8FC1738-5D95-343A-7508-776EE48E1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935B64A-EB29-0B5E-B636-3966E14AB3DD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C67625F3-801C-A4C9-A9F7-05D431B081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4F2AFE48-7D49-0354-0FF8-61718AED36AF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E253E822-384B-944D-6F9A-CE329173D52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529809D3-22B1-16EE-0EF9-69007D0CD9F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D1D62A40-F74B-3D06-8BAD-CCF92F0A536E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F13EDECC-F334-75E3-A333-93244B726274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937D932-C200-1F9B-24DC-0B69CD8A007A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62040A02-3136-6905-C0CF-319C206F1D2F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304A5DEA-80E3-8F6D-6AC5-ED4AB1E7237A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31884BE5-40D8-4DF9-CD1D-7EDFED239C83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89B7585B-7337-5F84-1DFF-7EFA0597F902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FD50A704-C3E2-EDBB-4109-5928DA7FF1B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7F3113DC-5B17-15ED-655F-6E97E5439C27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F21131A4-045B-A153-920A-BF320541C10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3271340A-963A-9E24-B05E-88DC29097AED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FF4B50D3-6E0A-D541-3702-73EB69866862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53E24A4B-111F-F8CC-83C3-6B646910A90A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18C8E1C6-72AA-8CF8-0702-260E29261D23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F64D3E1F-9B8D-BDD9-06A1-94C9DDFEF53E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4E1BC4AB-35D8-1391-03FD-3EFEB220AFFA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FD76087F-9540-3BB0-ECA6-55075BB17103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767707D9-C33D-8FE0-FA0D-A1C1EA2E43F9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329E1139-AA21-4B85-7CA4-39C84BF50991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5CBEF15B-373E-CB38-5F1D-8CA72024255B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35C64A2-B02E-377B-4096-923A23B2019A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445A7BCE-7E5D-A356-FB8C-711C634E318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AC78D53C-F1D6-BAE5-7AA0-98DC8BCF3CE7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E0657F53-A60E-61DC-9050-0ADB8DEADC3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E9632527-6D6D-2E0A-F1CA-3D1E2214B0D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E750A385-A2DB-D3D1-E8C5-B73A4725ABE4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AF215C72-C4A1-F9EE-430E-BCA6FFC62E6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D638D08E-9986-8A33-4CDE-1E1905FA1702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59AC1743-1BDC-D57F-4B0B-5B6550334111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4D54DF03-D1D6-27C1-4799-076BFD462BDB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0A4B524A-6305-B9D4-BDBE-B828E13AC6D2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72793BA1-46C4-21C9-3B4E-388012FCF7C3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E4978E3-336D-4024-0776-059023285CD8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604E433-A236-505E-0E0F-74AD0E2FDEE7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0B033607-E4F8-4623-A586-14A334AB6455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E03FBB4-20EA-183A-32EA-00876EAB213C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5C50A74C-B677-056E-B863-2C68458F3C6D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171AB8E6-92C2-552A-E387-D5BD17F0B9F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3CBB4D9C-398F-351E-AA0F-1BB20E9C2FC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0046E54-6604-28E8-4C01-A8ECB7B91A37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2FEC677A-07DD-504B-4684-7524B114E35E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A1A191A2-36B7-4AC5-74A7-24FADE34F624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C6D0DD7C-8E67-35F7-F13E-34F6F180BB5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F983E2E-C36D-AB97-5C13-071B5E6A6FF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D9CE975E-1C50-54A2-19AD-8B7AA51BB000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0D441A35-B729-C23E-7818-B52A4BBCDE8E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E9B7CAE6-F4FB-61B9-6F17-3E6D662B5F5E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D7B7B20B-0AA9-AFE1-E6C5-74CACD1D2133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63A7A325-8C23-9B97-07E3-CEE44FC79DB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2049DC23-64E3-93DF-11B0-FAB5E09589D5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609D72EB-3DB5-6938-3EF7-28E4ECAD56CC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D3CC2979-5285-305D-DA75-6201E6F3147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A8CD763D-2EDF-95A9-31CE-019A8B6D7884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82EAA65D-97D2-DE29-A98F-C219B92AE45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9A0259D9-2345-3B49-486F-CC9CB146E5A3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DBA82001-7886-1C9B-D706-F0682E6D85BB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415EE4EB-043C-CC1B-8B0D-4C2103196E07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32ECAEDF-20DF-8808-7AD6-18DB353C48D7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686DD3DF-9BD6-D227-B1A0-CA8FE14E36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9EACC892-8876-9776-1EF1-4EA78045C12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C45F0E80-F0C6-1A35-8B01-2586CCD7327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2FB57093-0FA4-FEF3-E145-C3F3DBD3A89D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C0D37966-C29F-84D5-9986-D2678A5E2C50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B48D7F4-7E92-94EE-15B9-1D52FC56A50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9D0B547-A4C5-9D00-DDAB-2D2923D72301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127DD13F-A756-0FCD-3235-6524383490CE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3F4B11C5-5FAC-1164-92EE-32BB01BCBD1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998313B1-1202-B6A1-384C-A18A07AE4027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C16E52BF-DE6B-554B-2458-EB64129835B4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3D2DE59-EFCF-14E6-939F-A4EAD08F06D5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4689E236-FBDC-DF4E-4549-77BDD7C8A6B5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EEE8D064-D7CB-0486-6D6C-D8DCE717C255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51F080D6-5D1E-EEB9-8617-700D5A87EA81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DB805CDB-CBC7-A09D-5192-98D6D76653F5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631473B6-528C-92A1-D246-4F8B5D019E74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7153A05A-755F-4A3A-4619-C7C966396B33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C9BEA365-A9E1-BACE-52CE-293104E4AE8D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D9BCF991-A381-FCED-D5CB-85A3DA07398A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03E8DF05-DF8B-1438-FD18-24C04D87E586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2BCDC050-4CA7-EA76-54F0-FCA202808C87}"/>
              </a:ext>
            </a:extLst>
          </p:cNvPr>
          <p:cNvGrpSpPr/>
          <p:nvPr/>
        </p:nvGrpSpPr>
        <p:grpSpPr>
          <a:xfrm>
            <a:off x="6095901" y="3831442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995F9B3B-5302-06E7-420A-DF77F97574E0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3D556605-09A1-CF10-2A25-6AA5FA04329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A7EFE875-7F6D-E317-E703-4F25F1A0CF5B}"/>
              </a:ext>
            </a:extLst>
          </p:cNvPr>
          <p:cNvGrpSpPr/>
          <p:nvPr/>
        </p:nvGrpSpPr>
        <p:grpSpPr>
          <a:xfrm>
            <a:off x="6300173" y="3833088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690C1A75-2AFE-D10C-5E0D-FCC8A18AC30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D30F5476-6A8A-7F66-64E8-4F34994753A3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09433898-830B-4518-BC07-370E7EA47545}"/>
              </a:ext>
            </a:extLst>
          </p:cNvPr>
          <p:cNvCxnSpPr>
            <a:cxnSpLocks/>
            <a:stCxn id="2176" idx="2"/>
          </p:cNvCxnSpPr>
          <p:nvPr/>
        </p:nvCxnSpPr>
        <p:spPr>
          <a:xfrm rot="5400000">
            <a:off x="5383920" y="3073695"/>
            <a:ext cx="66860" cy="1945646"/>
          </a:xfrm>
          <a:prstGeom prst="bentConnector2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B3053AD8-D013-1F4C-D428-4AD0369B3E5C}"/>
              </a:ext>
            </a:extLst>
          </p:cNvPr>
          <p:cNvCxnSpPr>
            <a:cxnSpLocks/>
            <a:stCxn id="2171" idx="1"/>
          </p:cNvCxnSpPr>
          <p:nvPr/>
        </p:nvCxnSpPr>
        <p:spPr>
          <a:xfrm rot="10800000">
            <a:off x="4249379" y="3879528"/>
            <a:ext cx="1846523" cy="41914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C5824DF0-BC2F-EDD8-7351-7C633831AECD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5E82AC15-8123-5D4B-6CCC-AACA673DC3CB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05A0219E-77F8-3864-7E60-F1D4BC610413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DBBB03DD-C07E-9F64-EE1E-CBBE8ABA493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DBCBE3D8-C645-90AC-5AAB-4DE3AB12A1FF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BEF66062-01F3-CC9F-39C6-70130E17014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5269D095-5924-FB90-9EBD-0881A9567C3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23749D49-1688-2EB8-762F-11BD9E33DC27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865922E1-69BA-E8A2-241C-31BB8D723CF3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027F1F63-2371-C7C2-ACF9-33791E38F8B5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36292F30-7E65-D409-00A7-F225AE2862A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1ED2A21E-AA81-B3DE-FE54-4EE9F48B63B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3860DD4A-1FB7-4613-DDF9-53B06D38EDCB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EA64C112-6590-5D5D-F310-656E46CE67D2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183C2758-7FAA-24AE-1569-94759E3412BF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03B7F013-BD35-D5A4-B20D-8FE24C30004C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DDA20774-F3EC-EFC4-1B76-A17B6660CFDC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62538772-B10C-55F0-B224-6FD73A4B10B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C0AC5AB6-C642-E9DE-C99E-CE721A7440C1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998C3477-CE09-9CDB-BABE-EE3D7CC20E36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B17B01D7-EDAD-CCBA-0798-CB71440D843D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402BC2F4-8CD0-7114-7989-1921C86398E9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7B409E6-3309-EC2D-8F12-C04F0CD27253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38E2D0FC-C6D8-132F-29AE-F631812012B1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B56BA1E4-CE27-E63F-459D-791D5DAAA296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F0C44107-45C6-75D1-3A71-9B5C5598CBC3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AF7FA134-117D-F5DA-0904-57EA0D6D1281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E8EBF5CC-8259-66FD-6FC2-7309F7A032B8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CB58EA0-3797-5B15-3C47-ACF5BE10B947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11E086BB-66CD-7203-B0E1-E85B53930121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EB682DF9-19D8-5321-5058-1DDB1DED37DC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A509B09-914E-F9B9-BD1D-6050E7AAE715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EB5C9E8-5079-F62F-E9A9-81D6D03803B4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C50437B-961F-FB73-3B88-51E1612B34E9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7622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2BA4C-03E7-6196-8582-BE8473BD1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F9BBC0E1-C23E-2CFE-3E06-B52B9AEE7B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F78DFA23-6417-D6A4-75B3-C23F6F0F829C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367F2C92-0C74-A273-3B26-217919D23E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3E839831-F601-9309-33FC-68ECA7A23E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3ECFE1-2F7B-0F21-46C2-7C47D1989D7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459CB4-B1FF-701E-3039-CA42CC8AE308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22826F-DF72-78C0-06C2-B4913B060A2E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33F4940-5C01-20A9-AA7B-8B801DBCE749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AF3211-8B60-3B28-CDE2-853C2A3798A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5930D51-C6AB-86C0-F184-77F00BF1CE4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A0BD19-B394-E8C5-6343-6385FC81229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599D739-12E2-350C-7431-9C53C88C15AB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37A680E-0D3B-9D10-CABB-E5A927085B9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06B673E-AF85-41A1-8422-44792BAE9372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B5B0D1-4C3E-FB8D-E389-7DD65CDFA00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809D-E70D-6C63-0919-9AC77F3853D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48450B-B36D-77E7-3CCA-09BEE6A7203D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23590E-3BE2-4044-5651-473205BFDF14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AC93BF2-6FC6-A8E7-D523-F95DE4588110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44C440B-472D-5FB9-FE33-6778D040A0A1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F2F3E40-59AD-4355-7872-92FB69CC32C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5C85B25-2FE0-E526-D62B-701DFEFFEBFC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FCD9AC3-0313-4D66-DC03-76BFA2F54EAF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DAADB0E-7A58-DBA2-322F-5417302A2A11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A4BFB46-6E3E-1102-2980-726D67AE149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C81AF7FC-1C3C-573E-A4B3-2D196FD06C77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24BD15E-5111-C2CB-541E-B0542B7D46E7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ACF72D67-604A-209A-695E-AF6C8E69DEA1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AC31FE4-E434-7FE0-0DFB-13DE39D1D8EB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170A149-8809-DEDC-9123-266EFD53D6F8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F57AD2-5AAB-9A61-3E90-C40D502295DC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74E3655-1B54-9891-5ABA-151D6AD1D662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2F68FF2-7337-BF55-85DA-E6D9E4146605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971B2E8-7980-06DF-6D1E-DDDD21825E31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BAF1C5-6D11-7337-4633-ADD59D28C2C0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3140B28-D900-0770-8CD9-617F0D658D0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41BF99C-6406-339A-3E97-935C8BF4A50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BE89B2B2-9186-9A01-3094-1DE76B8F85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4D7E34B-4AD2-0789-51DB-505D056CCB7A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AFD4C50-812B-C621-B1F6-A29F14004E4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5CEC8058-D16C-2721-2D75-CE50B80C8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78E63C5-71D6-A764-72DC-DE0EF50BBCB8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8409266F-FE01-1D8A-1341-FEE655970B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0430B441-5771-1AEF-2169-D17E1878FE94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3C30905E-53C5-ADE2-3C6E-4F59839BAD5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4EB269DE-11F2-018F-E1DA-D7DBA59233E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7B4C207D-44CC-E534-A090-A23BD5A32899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BA7DA43F-059A-B7AF-3CAF-6A044002C94F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C5FAF9D0-9EB0-A9B5-08CA-22E8F0B5466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E254407B-BBC9-A8A9-CF49-0D835173ADDB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ADD3C847-AC00-153D-7E44-9682BA05581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FF242565-2109-D1FF-240E-B70C7C727DF8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BFF9E48C-7F07-D2B2-EB0E-B79A2CCAC8D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FB88C7E-C5B3-BB96-1E96-CDA1419BCF8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36E61689-794E-7D26-C6CE-6EB1EC6CDECE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18A0F608-D8E8-4D23-0F37-4E362DC3C30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0C383107-1A73-9143-8CE1-373FC4EFB1F6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AEFEBCD6-13D4-51B5-C1E6-3EA0CA32D637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00F69F31-0946-EB92-DD29-56E52789E270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390D5D99-1AB5-B4D7-B479-279D6443C8B4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9AFAFE8-583F-CDD5-A0B1-B6C47C37D528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33A129A9-3C5F-E75A-01E8-1AA2BFF37F4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5FCA3ABE-9957-B9C6-8159-C954DD2B8FA6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61563403-5D6B-176D-4F3E-D05A2B913174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78F87809-DE72-56D0-F2F4-A414D5A2EB5F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180C4AF4-FD35-CBD5-376F-5AE20A0C6BD5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484C70F-E2A6-ECD9-5B9A-5DB337502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DA6160-884E-1057-D1A7-22C0FD0DB64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CBDDF6F8-BC5F-9B13-DECD-13AC609E0610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68E82823-7E37-B33D-BDF5-74FA9FAE904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1F230BCF-3A8D-1F3F-9AC8-640DFF0A352F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FFAA171C-8B43-D651-DAB1-59133CD93635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84019A10-FE85-57DD-2C08-128A61C9F91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3FE75A2C-C9DC-1D57-C089-7C6ACC4B7595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4D59FC2E-813A-D2CE-5918-7237004FEA7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3A51B3A5-F55B-3E54-9181-A64A5A6ED8E8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32D74437-240F-97FC-FF1A-807DFA455E7D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8C5F16E6-63F1-4569-F223-C28BCBF1D986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0AE024A-ABF4-8979-DB71-DEBEDE9DFD19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216CD4E-3BF7-8FB7-D3D5-FC5FC40FE6F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E776420-8CF9-C4D6-A515-C29A0D5FDC6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23444885-7232-5B85-E684-21E962D63AA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10494E6E-AB04-EA87-D21A-3D9CE42C15CC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8F11E935-5D90-A91F-3788-B6E1EEC6F9D5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F8AE5D47-D0C6-CDD2-4DB4-EAAE93E92549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65F899F-303C-0C7A-31A9-9F18F12D7BC4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6A5A0B1F-A707-C6E6-E739-EBE89EB5D2B6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F4AC2144-C9B1-7EFB-A45A-01BF867F8402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651D308-2168-C817-6C5B-320F88DF601C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A6AD00D-8474-ED08-9749-B841A91560E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911E0200-B601-3D22-7F08-226DAA8DEAA3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FB7AED54-14B5-2C0A-9AB3-6AC4BF66837A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B89C27BE-3067-DD43-CDD9-E36DF948448F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BB2856D7-DA7C-89CA-79BE-00F3ABD39C8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2DB54B48-EF51-8486-399B-3C4172C5DD3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633D9302-660B-AAAB-483C-E010FBD2BCDE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B95D8049-55FD-3EEE-829A-F715986E420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0F6C6A27-28C7-4528-63EC-AB2407D62ACC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F5411D2F-A47A-3E11-46FC-653AC93AACA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77690487-C6D0-EFF8-1DCF-8A0C5928180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D705D245-15EB-4676-BDA4-E69AAF0F58FA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0F37D607-E2DF-8082-FE12-4A427329E1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B1E26A98-E1DC-5380-B343-571496DBB90D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2D685B5D-8455-29F8-10FB-EFDEABAC8F22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39895CE2-2FA6-6B64-586C-A0AAF63CDD88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02C2A66A-6321-352A-0BDE-876574EB1BD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163C63C2-1AF9-4303-8287-5E08FCA6981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7ABA035A-6DC2-9AC7-B760-6C0BBD5D23B7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1C424EFD-BD78-F9DE-CED2-7C4C4E93DF0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EDC0E68-E657-2859-6B43-3BF378CE12EE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2B0D592-D923-18B1-6059-CBC0B8359EB6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7BE9D5F4-7E68-D967-DCCB-8777E7FCA7E9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D9930BAF-7A16-2CA2-5D0B-6663694A688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E371A812-8495-79E8-A624-7C5C4872A4BB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A5922155-D8D6-B553-5A86-97B6BF9F81C2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42024DF-652C-D2C4-EBB7-C8784C6E3701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0B80B62B-DDBF-53B5-51A1-BB47210EAFA3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C32219A4-0F04-5BBD-1232-07AFFE687C6D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F0E6A9D1-5B2F-1CB1-77E7-E8F276B00F43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3A80C722-02FA-E384-A598-269551496BD1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A865B778-2959-936C-C267-7357FBA9BF66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C128AB1F-A9BA-FAC3-9C69-08261EEE4AC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DBCD49E3-01FF-B93F-1317-B7B6AD71A28E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8FAED32A-829C-C848-D532-FA9CA92A7805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6E1BEA4-2AB7-3B7B-42DA-BB82B18A1D82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FB02B432-9295-4190-B7F8-005A38CC7EC3}"/>
              </a:ext>
            </a:extLst>
          </p:cNvPr>
          <p:cNvGrpSpPr/>
          <p:nvPr/>
        </p:nvGrpSpPr>
        <p:grpSpPr>
          <a:xfrm>
            <a:off x="7247896" y="2462407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F37B6473-F990-2ADB-95F0-1AB8D77E55A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964DB110-A969-4C97-1DE0-CDA3A12F710F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C0EF2109-7F1D-D3D6-71C4-876AFB295E3E}"/>
              </a:ext>
            </a:extLst>
          </p:cNvPr>
          <p:cNvGrpSpPr/>
          <p:nvPr/>
        </p:nvGrpSpPr>
        <p:grpSpPr>
          <a:xfrm>
            <a:off x="7461485" y="2453416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3856485D-6931-09F3-8FDB-9DD7325AECE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ABBFBBF5-91EC-7747-38BE-DC32A16CEEED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491E88D4-A35B-2ACE-0403-83B10FC7BC83}"/>
              </a:ext>
            </a:extLst>
          </p:cNvPr>
          <p:cNvCxnSpPr>
            <a:cxnSpLocks/>
            <a:stCxn id="2176" idx="2"/>
            <a:endCxn id="2165" idx="2"/>
          </p:cNvCxnSpPr>
          <p:nvPr/>
        </p:nvCxnSpPr>
        <p:spPr>
          <a:xfrm rot="5400000">
            <a:off x="5431552" y="1641973"/>
            <a:ext cx="1128491" cy="3111377"/>
          </a:xfrm>
          <a:prstGeom prst="bentConnector3">
            <a:avLst>
              <a:gd name="adj1" fmla="val 128360"/>
            </a:avLst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C89B551D-FE44-8A69-979E-3B1C807A53F3}"/>
              </a:ext>
            </a:extLst>
          </p:cNvPr>
          <p:cNvCxnSpPr>
            <a:cxnSpLocks/>
            <a:stCxn id="2171" idx="1"/>
            <a:endCxn id="2166" idx="2"/>
          </p:cNvCxnSpPr>
          <p:nvPr/>
        </p:nvCxnSpPr>
        <p:spPr>
          <a:xfrm rot="10800000" flipV="1">
            <a:off x="4244896" y="2552407"/>
            <a:ext cx="3003000" cy="1210254"/>
          </a:xfrm>
          <a:prstGeom prst="bentConnector4">
            <a:avLst>
              <a:gd name="adj1" fmla="val -2756"/>
              <a:gd name="adj2" fmla="val 13337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DC3272B5-81FA-3A1F-9041-AE6C70507301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DCBEE801-DC1F-DC2B-051E-C9100EA45CEF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31AA3AEF-FF91-CF42-A57F-76EDB35FA34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2EFEE0E9-81B7-6B1C-A584-72DB9F22E05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7458E969-DB16-B12F-6F5E-48F5D9FA249A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0A923683-90C5-624F-A968-5F8EBB0641F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D69A8A64-6B09-E587-1CEB-A71BD5AA75E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F0A46A12-7D36-2E4A-BEAF-4B1973041AF2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C70F264A-D21E-74B9-29D0-A0A7AB9C1B8E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216A0090-A960-4604-1CCF-B00C3946069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0BA5AEFF-3579-1C70-3B60-9CD5F2143E0F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D39CCA3D-C1C3-AE7C-DC1F-70E88FBE181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B3E05185-46FB-9B79-E1DC-5A0CCE11CB0E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A9018F20-AE16-396E-30CB-06FABAA3108A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30352CA5-C389-A3F2-CCBD-DBFE51B1F9D9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7F6FA244-0F84-6217-BBB5-36D67D85E6DB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BADE1D4C-D598-2888-07DF-896CCDAC6B81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57F54022-0571-DBB7-9FCE-79FE3C54880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82F8B579-09A6-307A-58CD-664D344B3F1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365480E1-AFB5-3D3A-43A3-31CABC50B1CA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FA0460A1-580B-E336-60F4-18036B0827DB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991754D4-806F-C695-3670-4B2C0D43DF11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576BE37-2A4A-00DA-A316-88D22307EAF1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6FA624FF-CABA-520B-DF74-ABC0C4A88A33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E25C7A85-9BE8-14D0-6890-C49255BC1A28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20CDC388-E239-5EC0-568C-FF1A9E9786E4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E98D1468-53BE-3384-3C16-17A5BFC3783D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06A961FC-DA13-DE17-D37F-97B36AC7C519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16F9CFF-7163-338D-0AAA-5E1AB78DE0B5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3FCDCA8B-685B-FD15-809B-777D58FC236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17334BA9-D28D-64B4-C5EF-A94312489B94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73A3047-E251-AD87-A321-E0717F5BF3C4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DDB6A25-B90B-8945-4744-91C5CADD9455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D41388D-36C2-93E3-2F80-3105F624044F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522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7F83E0-E3F2-BB35-5524-C6F2CC802D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89676C7-6954-6387-EBE7-C78049CB28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348AF1AD-4142-CCEC-1B8A-99D224606BCA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FAE6A79A-DBC7-CA1E-65B9-9E460F531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82CAEBD9-9295-C11D-74B6-861A07CD7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76C575-CCBA-9AB7-7E20-7CFA8F684038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68F4147-7F5A-8E06-BBEE-D100934C3F51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D7909C3-7F8F-4B37-AEAD-2328F2926B8B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76845C-04CD-B858-9AF3-5D1FEF5EA4F0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2F4F099-BA5E-D262-CAFF-A78802F0B775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A4DD955-9C99-E4C7-2012-26D31B11F269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506012E-5E58-F278-E144-6994F51B5CA7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6A47AE7-9C2A-E3A4-EA03-C2140F9C048C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ACFC1688-A407-EB09-2ADA-6225406DB8C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736C411-E16B-862C-8E79-F87E56349A42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CD92B97C-E3EB-98F1-1462-1FA426297888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A3731F0-0F9B-BFDF-7060-ACE42B8DC1CA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BD45FF3-E3B2-5444-D8A0-5470B65FC62B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9C4912-27A1-D303-C693-975A5DD3AD6E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2D7C83C-D82A-A946-F8F7-B9B4A1D206DE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0BC0ABDE-8986-12F2-5D3A-CEABE6A1122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BC373FA-79E1-D90A-167E-1A40C5C7FEF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ED614535-75BF-B678-F5E9-EAE188BDE883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8A5ED4F-955B-B7C8-A5FF-1A2DC3C9F516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8CF57DCB-57DD-073E-D16C-2EB499C7AF4D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53435520-6CD1-0B3A-3BD0-B31B87BD227B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13513F2B-5B10-0E92-FDB1-1C939C5D8AD2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24B004B-0D7B-50D9-6C44-5D6C6E2C2B9C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1624E6A4-FFB5-45C9-77DB-BF08AB9FE742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BD79CC3-C925-F8EF-802E-45BF7E411757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00F2948-487A-2EE5-C394-AD94EE1EFF37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23A8B3D-3B51-D9F8-7467-61527308108B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6DD31C9-7876-3B67-4846-8F9BACB5646D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985CD9E4-5892-DB01-1FBE-85B648A9225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F1991F7-7E18-623D-DB33-F65C70D3AC14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CAA21EA3-9345-0CC3-7B93-304A6509147C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207CDFD-CBC6-645B-6C27-92BB11A7F149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F1483FC6-41FC-2AE9-31DC-B029709049B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0E6BDDF-B908-181A-C5E2-95D1FD024460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8337260F-0601-37AA-2421-35C6F69DA5D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30366AD9-2719-417B-0EAC-9DF90F0060F5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55D1FA3F-1E2F-3484-D7C4-919D2C7454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F4FEA9D1-9E8D-1844-00B9-0E75A0A35AB2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2C058B4B-5505-1823-62F1-DED18DC7D2A9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D43DBC71-77D2-4FBC-71A7-3D05EAE68C5B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AA062538-BCD9-CA45-A36C-CE799B06A78C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5CDB0CDD-3B93-0D5D-2F88-D538C0A8351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B1386D80-D969-114F-E894-0AD3E5147F37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8E1E7AD7-F4F3-2946-7022-032691FB133E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5162CD16-7A7A-FF64-F18B-77FD2457E0F1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ADFEB77E-AC5D-64C9-2542-478C5F1FAD27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CE7325D0-BCD2-0028-5BEA-E5C84F27036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30699E83-9BEB-BDED-10C7-E35C21B8BC2C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9212EB60-6937-18C2-B357-F3D67ED60E9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19BAC45C-85B2-8EC1-F0A4-52DDA141E704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3E29DFCE-1272-0C83-826A-16C0FC504709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B3354A1F-544F-AEBA-9436-05D9320BB60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65386E46-353A-3602-DA59-7BD67B6DAB0A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E1D637F2-B82A-DA19-0312-1E2A742CEA61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B3BB05F3-3F1A-30EF-0B00-2CBCEBB3B220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E35AADB4-345A-5F8A-F240-4F90C4F41CD4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7E4CDDD8-F853-CC21-C983-7FAB5B990DFC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62018C20-7B9F-94F6-21E2-236EB8342BB3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93AC149B-87B7-AF47-5A9B-08B02C11670D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465F7E31-3FD1-91A9-173D-1A3E754A9E69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64BF8CA9-0C8B-FB41-7F42-FADDD882B0A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16D19A0F-3D7C-9E07-8A4B-CBBCA29FB56E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BF60D624-BDC9-E212-7288-C1C659CDB092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C6B28B53-D48F-41F2-2243-659A4A9F0C52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642C2171-0416-0CF6-6485-3BDC01B3B3FD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6B19D093-6D4F-929F-10EA-8FAEC5A980F7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BAD54851-6001-1437-6197-FB3137FA87E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0C6E09A9-9963-1A7F-FEA3-DEE721C40FA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F534A01D-1E47-580B-D02E-C1D7515FBF2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3DC4CFD5-E051-69F1-6882-E2123DC77C00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B1B590E1-ACA1-D8E6-4703-1A637222825F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0B3DC62D-EB2A-B016-C233-0E69AE494F53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3D283C17-C24A-F8E6-CD51-2B6ACD245C19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E246FE31-1543-6FFF-D00E-B9018B89C2B8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B6E226-BC7D-F4A7-74E4-E0A983DF8102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DDE05FB-D4DC-BC40-A4B4-A0E5CFFC640C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E2B14F-46EF-6C3C-96B9-D900911B11A2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00727FB-71EA-E78F-22C7-C781D92BC16E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724533AC-B30C-2491-F44D-BAD482466228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6A598419-5486-A069-EC1A-7E34BBE4E060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7EF40875-CEDF-D949-D27A-E71B5805F5A6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6474E03-5162-ECBD-5FEA-29469D4F2BEA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2E77F601-9A32-3E52-EC13-CCE958BB252A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93AD32CE-8463-2EAF-0C28-4500D18E196A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BA35E445-3DC0-CCAB-D2F2-3A8762A4EAB8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7221B1E2-E550-E01E-18D8-4F3BFA6FDDA9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789082C1-83F3-F5F6-7EC6-67690FD98ABE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CC010370-DF56-C8E9-AFDF-8F62F7E5AF90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D9117106-90CD-3106-576F-74782C7C791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2FE2D7DB-1A55-5DDF-47F3-596B49C01E87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D99BAAD3-1671-4F2B-AD29-06B1FF25125B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1F0E22F1-559B-3F98-38BF-429BB40FA35B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9FC67E91-B5EC-8147-1A97-C828AC5130EC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ADE36B79-386D-8853-0CE4-93D6932350F0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50CEB1DF-A8CC-74B2-6BBA-D99147A81545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5155F874-3BA3-15A4-6152-DEF157EF82FD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BF595210-A9DF-95A4-74AF-D2F1BCE73F5A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F705F85C-13F8-498D-C293-B73E5DA8BCF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6C3E000F-AA2F-AEE1-3E5E-279EEA818A0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52D64986-FEB9-1575-BF73-42FFF88485A3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CF29294D-83FE-40A8-F567-EAA8D3DB845B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174B6A37-64A1-AD11-6484-ED5D602A181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128E0E69-69AB-CDC6-65FB-6A639640A1CB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B7CD851F-EB73-3C55-4B1F-D0DE4EAE8912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59AB2D2D-E8D4-6F9B-1751-27EB3AC5DE5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D3C51BFB-DFB5-C352-647D-45F751F3BB37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F2923A64-A41F-87F6-23CE-AA897B37026C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AEF60E6C-075D-F05B-40AA-A4713DCA59E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95E1CDA5-B25B-6F56-6DFF-34A8FB1E6AC9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40D8E805-8C35-7F6E-6A3D-C97BEFA93F72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95D1B458-1C8C-B43B-E135-72871C94CA59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1E867E9-2184-454F-9171-C96496A2C333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0CCC02E4-6833-BF2B-F3A0-2AB50E70245E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6149C52B-530B-6838-F124-839FA5DA92EB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FCCDB64D-213D-BB95-6217-CCFB85038C61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17CBDB68-52CB-83AD-1071-BEB6F4BE7D19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BA6906DC-ED47-7259-B55B-964D81DAA6CC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A130AD0A-0686-36F8-09D6-2516148313B2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4F0B8CBF-CD8A-1629-70B0-600007522371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8D4CDD44-9CAE-5A78-E58B-B2ECC5ADAD98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02C304B7-80D8-22F5-2E0C-89561FD008F2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8F2A3B7C-C7BC-DD97-69F7-BE8BEAA1E0F5}"/>
              </a:ext>
            </a:extLst>
          </p:cNvPr>
          <p:cNvGrpSpPr/>
          <p:nvPr/>
        </p:nvGrpSpPr>
        <p:grpSpPr>
          <a:xfrm>
            <a:off x="7247896" y="2462407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1612F1BF-BED4-AAFA-6443-3C54029DD0C0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B0FB98A5-CC23-B80C-7909-BB9EF3BAD986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C0AE193D-A0B2-BA1B-18C2-CE37D80798D1}"/>
              </a:ext>
            </a:extLst>
          </p:cNvPr>
          <p:cNvGrpSpPr/>
          <p:nvPr/>
        </p:nvGrpSpPr>
        <p:grpSpPr>
          <a:xfrm>
            <a:off x="7461485" y="2453416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3BFA47AB-3D6E-1E92-BA09-C6C216B93CED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982DF6AA-F6E5-ED09-C2CD-4A4EC7B0B414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336B0FB7-7979-5CE5-FDC1-8EC925F6B34B}"/>
              </a:ext>
            </a:extLst>
          </p:cNvPr>
          <p:cNvCxnSpPr>
            <a:cxnSpLocks/>
            <a:stCxn id="2176" idx="2"/>
            <a:endCxn id="2165" idx="2"/>
          </p:cNvCxnSpPr>
          <p:nvPr/>
        </p:nvCxnSpPr>
        <p:spPr>
          <a:xfrm rot="5400000">
            <a:off x="5121699" y="1341928"/>
            <a:ext cx="1138299" cy="3721274"/>
          </a:xfrm>
          <a:prstGeom prst="bentConnector3">
            <a:avLst>
              <a:gd name="adj1" fmla="val 120083"/>
            </a:avLst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808C43A7-DC14-D417-B8E0-7CBFF6FA309D}"/>
              </a:ext>
            </a:extLst>
          </p:cNvPr>
          <p:cNvCxnSpPr>
            <a:cxnSpLocks/>
            <a:stCxn id="2171" idx="2"/>
            <a:endCxn id="2166" idx="2"/>
          </p:cNvCxnSpPr>
          <p:nvPr/>
        </p:nvCxnSpPr>
        <p:spPr>
          <a:xfrm rot="5400000">
            <a:off x="4921417" y="1355990"/>
            <a:ext cx="1130062" cy="3702897"/>
          </a:xfrm>
          <a:prstGeom prst="bentConnector3">
            <a:avLst>
              <a:gd name="adj1" fmla="val 109123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49EFC965-C8CC-CAC1-19E7-E8CBB9F333FB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D29A50FC-A3E4-8028-FB6D-E50CE66D3793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72295FBB-032A-7C39-2889-4F9CE5FD1555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96A39AEF-04F0-57EF-84A9-9E2D93BC01A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A4749936-E463-DF6C-F989-E10124A1BFF6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86DCA7BE-8054-D341-FAAE-551CFB188069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AF57E260-9408-18A5-23EF-FA18CCF96686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90AC7D4D-763D-239B-D0F2-76E5205ADD45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0FFC91CA-8210-EFDA-FC20-1261C4A950FA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FACD742A-9EE0-B5F5-F6EF-EDB32F4317A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5044AEA7-F2E4-B0ED-8C6A-225C15FAA382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DEF7BE8E-70FA-8B5D-1A9C-F1FA4497DAA4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A8E9609F-4123-30B9-12A7-BAD2773CA07F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6B9C6951-23EE-B6D5-D082-7F0F508EC6E1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A76AC531-8D28-937D-A9A6-0766ED2CCD5E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550645" y="2956781"/>
            <a:ext cx="483389" cy="2352654"/>
          </a:xfrm>
          <a:prstGeom prst="bentConnector3">
            <a:avLst>
              <a:gd name="adj1" fmla="val -47291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E10D653C-41AE-7615-7A5C-6FF906E5FDBC}"/>
              </a:ext>
            </a:extLst>
          </p:cNvPr>
          <p:cNvGrpSpPr/>
          <p:nvPr/>
        </p:nvGrpSpPr>
        <p:grpSpPr>
          <a:xfrm>
            <a:off x="4526013" y="4374803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A859344B-3110-F64F-2B8F-20AD22CA1838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80E3B579-6946-5895-CAF0-1F85D96F6DD2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E9BBBF67-B873-D265-3307-ADEE4FBE9CB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FA029E11-D720-12BF-EC62-CED840E7BB21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>
                  <a:solidFill>
                    <a:schemeClr val="bg1"/>
                  </a:solidFill>
                </a:rPr>
                <a:t>LED</a:t>
              </a:r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8CEC4300-1F96-8E4A-9F74-3499B739EA56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418292DC-8121-569A-567D-5493574FC6DD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7AEA8F6-A241-1F1B-150F-BA1F6FA9ED7E}"/>
              </a:ext>
            </a:extLst>
          </p:cNvPr>
          <p:cNvGrpSpPr/>
          <p:nvPr/>
        </p:nvGrpSpPr>
        <p:grpSpPr>
          <a:xfrm>
            <a:off x="3544999" y="3587325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F7849C46-EB0C-4713-C9BE-EA33C0A6146D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33BBAE4F-B460-6B0B-90C1-A8AEB07E2F70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3F0C625E-2EE4-4ECE-B60C-EEB5B0CC1B79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1BF4265F-012E-9C32-4B29-3DAD5F5E58F7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057BEFA9-D483-0F84-DF95-F3EEF1E8855D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82DC3CF5-68A2-AFA9-B215-86682F4FA1B3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02149DA4-46FE-5B75-1A2E-BB24CAD7B25F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BB9285C8-043B-4A2A-A4DC-2FA1A63B34EF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7199367-0357-FE42-7328-B43E5FF6C8FF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9D8993D-9FAE-CB04-4C50-6BD1D39A4A9D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C4D88A3-6C41-3710-50B3-0F6124396DBB}"/>
              </a:ext>
            </a:extLst>
          </p:cNvPr>
          <p:cNvCxnSpPr>
            <a:cxnSpLocks/>
          </p:cNvCxnSpPr>
          <p:nvPr/>
        </p:nvCxnSpPr>
        <p:spPr>
          <a:xfrm flipH="1">
            <a:off x="3910562" y="4464803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3041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217</Words>
  <Application>Microsoft Office PowerPoint</Application>
  <PresentationFormat>Widescreen</PresentationFormat>
  <Paragraphs>173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</cp:lastModifiedBy>
  <cp:revision>20</cp:revision>
  <dcterms:created xsi:type="dcterms:W3CDTF">2021-10-11T10:06:39Z</dcterms:created>
  <dcterms:modified xsi:type="dcterms:W3CDTF">2024-12-04T22:52:29Z</dcterms:modified>
</cp:coreProperties>
</file>